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8" r:id="rId1"/>
    <p:sldMasterId id="2147483754" r:id="rId2"/>
  </p:sldMasterIdLst>
  <p:notesMasterIdLst>
    <p:notesMasterId r:id="rId43"/>
  </p:notesMasterIdLst>
  <p:sldIdLst>
    <p:sldId id="639" r:id="rId3"/>
    <p:sldId id="406" r:id="rId4"/>
    <p:sldId id="322" r:id="rId5"/>
    <p:sldId id="337" r:id="rId6"/>
    <p:sldId id="338" r:id="rId7"/>
    <p:sldId id="339" r:id="rId8"/>
    <p:sldId id="340" r:id="rId9"/>
    <p:sldId id="646" r:id="rId10"/>
    <p:sldId id="341" r:id="rId11"/>
    <p:sldId id="342" r:id="rId12"/>
    <p:sldId id="343" r:id="rId13"/>
    <p:sldId id="344" r:id="rId14"/>
    <p:sldId id="346" r:id="rId15"/>
    <p:sldId id="347" r:id="rId16"/>
    <p:sldId id="345" r:id="rId17"/>
    <p:sldId id="348" r:id="rId18"/>
    <p:sldId id="349" r:id="rId19"/>
    <p:sldId id="350" r:id="rId20"/>
    <p:sldId id="629" r:id="rId21"/>
    <p:sldId id="647" r:id="rId22"/>
    <p:sldId id="648" r:id="rId23"/>
    <p:sldId id="649" r:id="rId24"/>
    <p:sldId id="650" r:id="rId25"/>
    <p:sldId id="651" r:id="rId26"/>
    <p:sldId id="652" r:id="rId27"/>
    <p:sldId id="643" r:id="rId28"/>
    <p:sldId id="644" r:id="rId29"/>
    <p:sldId id="645" r:id="rId30"/>
    <p:sldId id="394" r:id="rId31"/>
    <p:sldId id="318" r:id="rId32"/>
    <p:sldId id="654" r:id="rId33"/>
    <p:sldId id="655" r:id="rId34"/>
    <p:sldId id="653" r:id="rId35"/>
    <p:sldId id="641" r:id="rId36"/>
    <p:sldId id="327" r:id="rId37"/>
    <p:sldId id="329" r:id="rId38"/>
    <p:sldId id="330" r:id="rId39"/>
    <p:sldId id="656" r:id="rId40"/>
    <p:sldId id="319" r:id="rId41"/>
    <p:sldId id="642" r:id="rId42"/>
  </p:sldIdLst>
  <p:sldSz cx="24384000" cy="13716000"/>
  <p:notesSz cx="6858000" cy="9144000"/>
  <p:custDataLst>
    <p:tags r:id="rId44"/>
  </p:custDataLst>
  <p:defaultTextStyle>
    <a:defPPr>
      <a:defRPr lang="en-US"/>
    </a:defPPr>
    <a:lvl1pPr marL="0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1pPr>
    <a:lvl2pPr marL="1088639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2pPr>
    <a:lvl3pPr marL="2177278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3pPr>
    <a:lvl4pPr marL="3265917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4pPr>
    <a:lvl5pPr marL="4354556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5pPr>
    <a:lvl6pPr marL="5443195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6pPr>
    <a:lvl7pPr marL="6531834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7pPr>
    <a:lvl8pPr marL="7620472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8pPr>
    <a:lvl9pPr marL="8709111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CB8C"/>
    <a:srgbClr val="E2F0D9"/>
    <a:srgbClr val="E3E2EC"/>
    <a:srgbClr val="DDDDDD"/>
    <a:srgbClr val="242452"/>
    <a:srgbClr val="3333FF"/>
    <a:srgbClr val="E7F7FF"/>
    <a:srgbClr val="D6F7FE"/>
    <a:srgbClr val="EEF7E9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698" autoAdjust="0"/>
    <p:restoredTop sz="94139" autoAdjust="0"/>
  </p:normalViewPr>
  <p:slideViewPr>
    <p:cSldViewPr>
      <p:cViewPr varScale="1">
        <p:scale>
          <a:sx n="41" d="100"/>
          <a:sy n="41" d="100"/>
        </p:scale>
        <p:origin x="182" y="72"/>
      </p:cViewPr>
      <p:guideLst>
        <p:guide orient="horz" pos="4320"/>
        <p:guide pos="76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BB293-0719-4B19-A181-EE36FD0623AD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A8B73-FCCD-4D4C-BC4E-0CE5120A1B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63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1088639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2177278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3265917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4354556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5443195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6531834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7620472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8709111" algn="l" defTabSz="2177278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2001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7095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733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265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3087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202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9951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6174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969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70113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865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194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8658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70113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141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8682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79658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159443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8792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1085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77610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8527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72025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86585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872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953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85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565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23D8C-BCC6-453A-B078-455701A554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01249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015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623D8C-BCC6-453A-B078-455701A55423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85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9727" y="1781954"/>
            <a:ext cx="21031200" cy="2651126"/>
          </a:xfrm>
          <a:prstGeom prst="rect">
            <a:avLst/>
          </a:prstGeom>
        </p:spPr>
        <p:txBody>
          <a:bodyPr/>
          <a:lstStyle>
            <a:lvl1pPr algn="l">
              <a:defRPr sz="5400">
                <a:latin typeface="Tomaho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99727" y="4702953"/>
            <a:ext cx="10363200" cy="8702676"/>
          </a:xfrm>
          <a:prstGeom prst="rect">
            <a:avLst/>
          </a:prstGeom>
        </p:spPr>
        <p:txBody>
          <a:bodyPr/>
          <a:lstStyle>
            <a:lvl1pPr algn="l">
              <a:defRPr sz="4800">
                <a:latin typeface="Tomaho"/>
              </a:defRPr>
            </a:lvl1pPr>
            <a:lvl2pPr algn="l">
              <a:defRPr sz="4800">
                <a:latin typeface="Tomaho"/>
              </a:defRPr>
            </a:lvl2pPr>
            <a:lvl3pPr algn="l">
              <a:defRPr sz="4800">
                <a:latin typeface="Tomaho"/>
              </a:defRPr>
            </a:lvl3pPr>
            <a:lvl4pPr algn="l">
              <a:defRPr sz="4800">
                <a:latin typeface="Tomaho"/>
              </a:defRPr>
            </a:lvl4pPr>
            <a:lvl5pPr algn="l">
              <a:defRPr sz="4800">
                <a:latin typeface="Tomaho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67727" y="4702953"/>
            <a:ext cx="10363200" cy="8702676"/>
          </a:xfrm>
          <a:prstGeom prst="rect">
            <a:avLst/>
          </a:prstGeom>
        </p:spPr>
        <p:txBody>
          <a:bodyPr/>
          <a:lstStyle>
            <a:lvl1pPr algn="l">
              <a:defRPr sz="4800">
                <a:latin typeface="Tomaho"/>
              </a:defRPr>
            </a:lvl1pPr>
            <a:lvl2pPr algn="l">
              <a:defRPr sz="4800">
                <a:latin typeface="Tomaho"/>
              </a:defRPr>
            </a:lvl2pPr>
            <a:lvl3pPr algn="l">
              <a:defRPr sz="4800">
                <a:latin typeface="Tomaho"/>
              </a:defRPr>
            </a:lvl3pPr>
            <a:lvl4pPr algn="l">
              <a:defRPr sz="4800">
                <a:latin typeface="Tomaho"/>
              </a:defRPr>
            </a:lvl4pPr>
            <a:lvl5pPr algn="l">
              <a:defRPr sz="4800">
                <a:latin typeface="Tomaho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2073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2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833076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683611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843195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70163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41751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4711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2842679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1301043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544390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707384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508065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1678283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291935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6020121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739924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6096263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6358136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301831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290249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935621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2695324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FD4328-148B-4547-A4ED-C0C479A0C7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28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51046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8036386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00576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547817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2976827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2532846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8023669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770717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6560535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6179673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55508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938197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741254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670427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235058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8157744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6959766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8770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15295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594460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683300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78250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241930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510540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246283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481129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707362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930660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048505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0" y="12712706"/>
            <a:ext cx="5689601" cy="730250"/>
          </a:xfrm>
          <a:prstGeom prst="rect">
            <a:avLst/>
          </a:prstGeom>
        </p:spPr>
        <p:txBody>
          <a:bodyPr lIns="91426" tIns="45713" rIns="91426" bIns="45713"/>
          <a:lstStyle/>
          <a:p>
            <a:fld id="{D15044BE-B3F3-4258-B55D-9238C2EBFDF1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5" y="12712706"/>
            <a:ext cx="7721601" cy="730250"/>
          </a:xfrm>
          <a:prstGeom prst="rect">
            <a:avLst/>
          </a:prstGeom>
        </p:spPr>
        <p:txBody>
          <a:bodyPr lIns="91426" tIns="45713" rIns="91426" bIns="45713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4" y="12712706"/>
            <a:ext cx="5689601" cy="730250"/>
          </a:xfrm>
          <a:prstGeom prst="rect">
            <a:avLst/>
          </a:prstGeom>
        </p:spPr>
        <p:txBody>
          <a:bodyPr lIns="91426" tIns="45713" rIns="91426" bIns="45713"/>
          <a:lstStyle/>
          <a:p>
            <a:fld id="{E56A0A80-8336-46B1-B89F-89FB7E7362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862067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2" y="12712702"/>
            <a:ext cx="5689600" cy="730250"/>
          </a:xfrm>
          <a:prstGeom prst="rect">
            <a:avLst/>
          </a:prstGeom>
        </p:spPr>
        <p:txBody>
          <a:bodyPr/>
          <a:lstStyle/>
          <a:p>
            <a:fld id="{D15044BE-B3F3-4258-B55D-9238C2EBFDF1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0" y="12712702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1" y="12712702"/>
            <a:ext cx="5689600" cy="730250"/>
          </a:xfrm>
          <a:prstGeom prst="rect">
            <a:avLst/>
          </a:prstGeom>
        </p:spPr>
        <p:txBody>
          <a:bodyPr/>
          <a:lstStyle/>
          <a:p>
            <a:fld id="{E56A0A80-8336-46B1-B89F-89FB7E7362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164471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1" y="12712701"/>
            <a:ext cx="5689600" cy="730250"/>
          </a:xfrm>
          <a:prstGeom prst="rect">
            <a:avLst/>
          </a:prstGeom>
        </p:spPr>
        <p:txBody>
          <a:bodyPr/>
          <a:lstStyle/>
          <a:p>
            <a:fld id="{D15044BE-B3F3-4258-B55D-9238C2EBFDF1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0" y="12712701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0" y="12712701"/>
            <a:ext cx="5689600" cy="730250"/>
          </a:xfrm>
          <a:prstGeom prst="rect">
            <a:avLst/>
          </a:prstGeom>
        </p:spPr>
        <p:txBody>
          <a:bodyPr/>
          <a:lstStyle/>
          <a:p>
            <a:fld id="{E56A0A80-8336-46B1-B89F-89FB7E7362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766085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1" y="12712701"/>
            <a:ext cx="5689600" cy="730250"/>
          </a:xfrm>
          <a:prstGeom prst="rect">
            <a:avLst/>
          </a:prstGeom>
        </p:spPr>
        <p:txBody>
          <a:bodyPr/>
          <a:lstStyle/>
          <a:p>
            <a:fld id="{D15044BE-B3F3-4258-B55D-9238C2EBFDF1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31200" y="12712701"/>
            <a:ext cx="7721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475200" y="12712701"/>
            <a:ext cx="5689600" cy="730250"/>
          </a:xfrm>
          <a:prstGeom prst="rect">
            <a:avLst/>
          </a:prstGeom>
        </p:spPr>
        <p:txBody>
          <a:bodyPr/>
          <a:lstStyle/>
          <a:p>
            <a:fld id="{E56A0A80-8336-46B1-B89F-89FB7E7362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813515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589881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55814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98361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F9E5E443-43CC-47C0-B016-9A203293290C}" type="datetimeFigureOut">
              <a:rPr lang="en-US" smtClean="0"/>
              <a:pPr/>
              <a:t>10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/>
          <a:lstStyle/>
          <a:p>
            <a:fld id="{24C77148-22BA-41E4-AAE6-AAE78D0077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88558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3140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0" r:id="rId3"/>
    <p:sldLayoutId id="2147483741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814" r:id="rId12"/>
    <p:sldLayoutId id="2147483813" r:id="rId13"/>
    <p:sldLayoutId id="2147483812" r:id="rId14"/>
    <p:sldLayoutId id="2147483811" r:id="rId15"/>
    <p:sldLayoutId id="2147483810" r:id="rId16"/>
    <p:sldLayoutId id="2147483809" r:id="rId17"/>
    <p:sldLayoutId id="2147483808" r:id="rId18"/>
    <p:sldLayoutId id="2147483807" r:id="rId19"/>
    <p:sldLayoutId id="2147483806" r:id="rId20"/>
    <p:sldLayoutId id="2147483805" r:id="rId21"/>
    <p:sldLayoutId id="2147483804" r:id="rId22"/>
    <p:sldLayoutId id="2147483803" r:id="rId23"/>
    <p:sldLayoutId id="2147483802" r:id="rId24"/>
    <p:sldLayoutId id="2147483801" r:id="rId25"/>
    <p:sldLayoutId id="2147483800" r:id="rId26"/>
    <p:sldLayoutId id="2147483799" r:id="rId27"/>
    <p:sldLayoutId id="2147483798" r:id="rId28"/>
    <p:sldLayoutId id="2147483797" r:id="rId29"/>
    <p:sldLayoutId id="2147483796" r:id="rId30"/>
    <p:sldLayoutId id="2147483795" r:id="rId31"/>
    <p:sldLayoutId id="2147483794" r:id="rId32"/>
    <p:sldLayoutId id="2147483793" r:id="rId33"/>
    <p:sldLayoutId id="2147483792" r:id="rId34"/>
    <p:sldLayoutId id="2147483791" r:id="rId35"/>
    <p:sldLayoutId id="2147483790" r:id="rId36"/>
    <p:sldLayoutId id="2147483789" r:id="rId37"/>
    <p:sldLayoutId id="2147483788" r:id="rId38"/>
    <p:sldLayoutId id="2147483787" r:id="rId39"/>
    <p:sldLayoutId id="2147483786" r:id="rId40"/>
    <p:sldLayoutId id="2147483785" r:id="rId41"/>
    <p:sldLayoutId id="2147483784" r:id="rId42"/>
    <p:sldLayoutId id="2147483783" r:id="rId43"/>
    <p:sldLayoutId id="2147483782" r:id="rId44"/>
  </p:sldLayoutIdLst>
  <p:transition spd="slow">
    <p:fade/>
  </p:transition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02D81D6-6C80-4AD7-8303-A19CA280861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44203" y="1065704"/>
            <a:ext cx="24239797" cy="12650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94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</p:sldLayoutIdLst>
  <p:transition spd="slow">
    <p:fade/>
  </p:transition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jpg"/><Relationship Id="rId4" Type="http://schemas.openxmlformats.org/officeDocument/2006/relationships/image" Target="../media/image8.gi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66.png"/><Relationship Id="rId7" Type="http://schemas.openxmlformats.org/officeDocument/2006/relationships/image" Target="../media/image69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image" Target="../media/image68.png"/><Relationship Id="rId10" Type="http://schemas.openxmlformats.org/officeDocument/2006/relationships/image" Target="../media/image72.png"/><Relationship Id="rId4" Type="http://schemas.openxmlformats.org/officeDocument/2006/relationships/image" Target="../media/image67.png"/><Relationship Id="rId9" Type="http://schemas.openxmlformats.org/officeDocument/2006/relationships/image" Target="../media/image7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74.png"/><Relationship Id="rId7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11" Type="http://schemas.openxmlformats.org/officeDocument/2006/relationships/image" Target="../media/image80.png"/><Relationship Id="rId5" Type="http://schemas.openxmlformats.org/officeDocument/2006/relationships/image" Target="../media/image76.png"/><Relationship Id="rId10" Type="http://schemas.openxmlformats.org/officeDocument/2006/relationships/image" Target="../media/image79.png"/><Relationship Id="rId4" Type="http://schemas.openxmlformats.org/officeDocument/2006/relationships/image" Target="../media/image75.png"/><Relationship Id="rId9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82.png"/><Relationship Id="rId7" Type="http://schemas.openxmlformats.org/officeDocument/2006/relationships/image" Target="../media/image85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11" Type="http://schemas.openxmlformats.org/officeDocument/2006/relationships/image" Target="../media/image88.png"/><Relationship Id="rId5" Type="http://schemas.openxmlformats.org/officeDocument/2006/relationships/image" Target="../media/image84.png"/><Relationship Id="rId10" Type="http://schemas.openxmlformats.org/officeDocument/2006/relationships/image" Target="../media/image87.png"/><Relationship Id="rId4" Type="http://schemas.openxmlformats.org/officeDocument/2006/relationships/image" Target="../media/image83.png"/><Relationship Id="rId9" Type="http://schemas.openxmlformats.org/officeDocument/2006/relationships/image" Target="../media/image8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jpe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90.png"/><Relationship Id="rId3" Type="http://schemas.openxmlformats.org/officeDocument/2006/relationships/image" Target="../media/image42.png"/><Relationship Id="rId7" Type="http://schemas.openxmlformats.org/officeDocument/2006/relationships/image" Target="https://thuexesaigon.net/wp-content/uploads/2016/06/cho-thue-xe-16-600-x-400.jpg" TargetMode="External"/><Relationship Id="rId12" Type="http://schemas.openxmlformats.org/officeDocument/2006/relationships/image" Target="../media/image8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6" Type="http://schemas.openxmlformats.org/officeDocument/2006/relationships/image" Target="../media/image44.jpeg"/><Relationship Id="rId11" Type="http://schemas.openxmlformats.org/officeDocument/2006/relationships/image" Target="../media/image70.png"/><Relationship Id="rId5" Type="http://schemas.openxmlformats.org/officeDocument/2006/relationships/image" Target="../media/image43.jpeg"/><Relationship Id="rId10" Type="http://schemas.openxmlformats.org/officeDocument/2006/relationships/image" Target="../media/image59.png"/><Relationship Id="rId4" Type="http://schemas.openxmlformats.org/officeDocument/2006/relationships/image" Target="../media/image50.png"/><Relationship Id="rId9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1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0.png"/><Relationship Id="rId5" Type="http://schemas.openxmlformats.org/officeDocument/2006/relationships/image" Target="../media/image130.png"/><Relationship Id="rId4" Type="http://schemas.openxmlformats.org/officeDocument/2006/relationships/image" Target="../media/image12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5.png"/><Relationship Id="rId4" Type="http://schemas.openxmlformats.org/officeDocument/2006/relationships/image" Target="../media/image4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6.png"/><Relationship Id="rId4" Type="http://schemas.openxmlformats.org/officeDocument/2006/relationships/image" Target="../media/image4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3.png"/><Relationship Id="rId4" Type="http://schemas.openxmlformats.org/officeDocument/2006/relationships/image" Target="../media/image4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4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0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70.png"/><Relationship Id="rId5" Type="http://schemas.openxmlformats.org/officeDocument/2006/relationships/image" Target="../media/image102.png"/><Relationship Id="rId4" Type="http://schemas.openxmlformats.org/officeDocument/2006/relationships/image" Target="../media/image43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5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3.png"/><Relationship Id="rId5" Type="http://schemas.openxmlformats.org/officeDocument/2006/relationships/image" Target="../media/image104.png"/><Relationship Id="rId4" Type="http://schemas.openxmlformats.org/officeDocument/2006/relationships/image" Target="../media/image4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43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06.png"/><Relationship Id="rId7" Type="http://schemas.openxmlformats.org/officeDocument/2006/relationships/oleObject" Target="../embeddings/oleObject1.bin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0.png"/><Relationship Id="rId4" Type="http://schemas.openxmlformats.org/officeDocument/2006/relationships/image" Target="../media/image10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20.png"/><Relationship Id="rId4" Type="http://schemas.openxmlformats.org/officeDocument/2006/relationships/image" Target="../media/image10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08C62C3-3138-4092-86C2-85A1567C6E78}"/>
              </a:ext>
            </a:extLst>
          </p:cNvPr>
          <p:cNvGrpSpPr/>
          <p:nvPr/>
        </p:nvGrpSpPr>
        <p:grpSpPr>
          <a:xfrm>
            <a:off x="762000" y="1743364"/>
            <a:ext cx="22808128" cy="11383307"/>
            <a:chOff x="1447799" y="1727360"/>
            <a:chExt cx="22808128" cy="1138330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17C9077-2F0E-4830-9CBB-2CF87E745444}"/>
                </a:ext>
              </a:extLst>
            </p:cNvPr>
            <p:cNvGrpSpPr/>
            <p:nvPr/>
          </p:nvGrpSpPr>
          <p:grpSpPr>
            <a:xfrm>
              <a:off x="1447799" y="1727360"/>
              <a:ext cx="22808128" cy="11383307"/>
              <a:chOff x="1447799" y="1727360"/>
              <a:chExt cx="22808128" cy="11383307"/>
            </a:xfrm>
          </p:grpSpPr>
          <p:grpSp>
            <p:nvGrpSpPr>
              <p:cNvPr id="69" name="Group 68"/>
              <p:cNvGrpSpPr/>
              <p:nvPr/>
            </p:nvGrpSpPr>
            <p:grpSpPr>
              <a:xfrm>
                <a:off x="1575873" y="1797127"/>
                <a:ext cx="22680054" cy="9473015"/>
                <a:chOff x="-3538955" y="3448230"/>
                <a:chExt cx="22680054" cy="9473015"/>
              </a:xfrm>
            </p:grpSpPr>
            <p:sp>
              <p:nvSpPr>
                <p:cNvPr id="70" name="Right Triangle 69"/>
                <p:cNvSpPr/>
                <p:nvPr/>
              </p:nvSpPr>
              <p:spPr>
                <a:xfrm flipH="1">
                  <a:off x="8958821" y="3486542"/>
                  <a:ext cx="193377" cy="212342"/>
                </a:xfrm>
                <a:prstGeom prst="rtTriangle">
                  <a:avLst/>
                </a:pr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71" name="Group 70"/>
                <p:cNvGrpSpPr/>
                <p:nvPr/>
              </p:nvGrpSpPr>
              <p:grpSpPr>
                <a:xfrm>
                  <a:off x="-3538955" y="3448230"/>
                  <a:ext cx="22680054" cy="9473015"/>
                  <a:chOff x="-3538955" y="3448230"/>
                  <a:chExt cx="22680054" cy="9473015"/>
                </a:xfrm>
              </p:grpSpPr>
              <p:sp>
                <p:nvSpPr>
                  <p:cNvPr id="72" name="Rounded Rectangle 71"/>
                  <p:cNvSpPr/>
                  <p:nvPr/>
                </p:nvSpPr>
                <p:spPr>
                  <a:xfrm>
                    <a:off x="-3538955" y="3592713"/>
                    <a:ext cx="22680054" cy="9328532"/>
                  </a:xfrm>
                  <a:prstGeom prst="roundRect">
                    <a:avLst>
                      <a:gd name="adj" fmla="val 2127"/>
                    </a:avLst>
                  </a:prstGeom>
                  <a:solidFill>
                    <a:schemeClr val="bg1"/>
                  </a:solidFill>
                  <a:ln w="57150">
                    <a:solidFill>
                      <a:srgbClr val="0999C8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6000" tIns="18000" rIns="36000" bIns="18000" rtlCol="0" anchor="ctr"/>
                  <a:lstStyle/>
                  <a:p>
                    <a:pPr algn="ctr"/>
                    <a:endParaRPr lang="en-US" sz="4600" dirty="0">
                      <a:latin typeface="Tahoma" pitchFamily="34" charset="0"/>
                      <a:ea typeface="Tahoma" pitchFamily="34" charset="0"/>
                      <a:cs typeface="Tahoma" pitchFamily="34" charset="0"/>
                    </a:endParaRPr>
                  </a:p>
                </p:txBody>
              </p:sp>
              <p:sp>
                <p:nvSpPr>
                  <p:cNvPr id="73" name="TextBox 72"/>
                  <p:cNvSpPr txBox="1"/>
                  <p:nvPr/>
                </p:nvSpPr>
                <p:spPr>
                  <a:xfrm>
                    <a:off x="5759299" y="3448230"/>
                    <a:ext cx="3890809" cy="92333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 fontAlgn="auto">
                      <a:spcBef>
                        <a:spcPct val="5000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5400" b="1" cap="all" dirty="0">
                        <a:ln w="0"/>
                        <a:solidFill>
                          <a:schemeClr val="bg1"/>
                        </a:solidFill>
                        <a:effectLst>
                          <a:reflection blurRad="12700" stA="50000" endPos="50000" dist="5000" dir="5400000" sy="-100000" rotWithShape="0"/>
                        </a:effectLst>
                        <a:latin typeface="Tahoma" pitchFamily="34" charset="0"/>
                        <a:ea typeface="Tahoma" pitchFamily="34" charset="0"/>
                        <a:cs typeface="Tahoma" pitchFamily="34" charset="0"/>
                      </a:rPr>
                      <a:t>CHƯƠNG I</a:t>
                    </a:r>
                  </a:p>
                </p:txBody>
              </p:sp>
            </p:grpSp>
          </p:grpSp>
          <p:sp>
            <p:nvSpPr>
              <p:cNvPr id="74" name="Right Triangle 73"/>
              <p:cNvSpPr/>
              <p:nvPr/>
            </p:nvSpPr>
            <p:spPr>
              <a:xfrm flipH="1">
                <a:off x="3551001" y="1727360"/>
                <a:ext cx="193377" cy="212342"/>
              </a:xfrm>
              <a:prstGeom prst="rt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Round Same Side Corner Rectangle 95"/>
              <p:cNvSpPr/>
              <p:nvPr/>
            </p:nvSpPr>
            <p:spPr>
              <a:xfrm flipV="1">
                <a:off x="3744378" y="1793810"/>
                <a:ext cx="19992294" cy="1181261"/>
              </a:xfrm>
              <a:prstGeom prst="round2SameRect">
                <a:avLst>
                  <a:gd name="adj1" fmla="val 6458"/>
                  <a:gd name="adj2" fmla="val 0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4353740" y="2012935"/>
                <a:ext cx="19233510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vi-VN" sz="4800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ƯƠNG </a:t>
                </a:r>
                <a:r>
                  <a:rPr lang="en-US" sz="4800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II</a:t>
                </a:r>
                <a:r>
                  <a:rPr lang="vi-VN" sz="4800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800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 PHÁP TỌA ĐỘ TRONG MẶT PHẲNG</a:t>
                </a:r>
                <a:endParaRPr lang="vi-VN" sz="4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pic>
            <p:nvPicPr>
              <p:cNvPr id="104" name="Picture 5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71230" y="2975075"/>
                <a:ext cx="1495424" cy="14954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16"/>
              <p:cNvSpPr/>
              <p:nvPr/>
            </p:nvSpPr>
            <p:spPr>
              <a:xfrm>
                <a:off x="7467544" y="4114018"/>
                <a:ext cx="13632086" cy="83322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0" tIns="45705" rIns="91410" bIns="45705"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58" name="Group 26"/>
              <p:cNvGrpSpPr/>
              <p:nvPr/>
            </p:nvGrpSpPr>
            <p:grpSpPr>
              <a:xfrm>
                <a:off x="1447799" y="5783936"/>
                <a:ext cx="1392454" cy="905660"/>
                <a:chOff x="7459669" y="8063144"/>
                <a:chExt cx="1381118" cy="905764"/>
              </a:xfrm>
            </p:grpSpPr>
            <p:sp>
              <p:nvSpPr>
                <p:cNvPr id="59" name="Isosceles Triangle 44"/>
                <p:cNvSpPr/>
                <p:nvPr/>
              </p:nvSpPr>
              <p:spPr>
                <a:xfrm rot="16200000">
                  <a:off x="7469936" y="8052877"/>
                  <a:ext cx="143688" cy="164221"/>
                </a:xfrm>
                <a:custGeom>
                  <a:avLst/>
                  <a:gdLst>
                    <a:gd name="connsiteX0" fmla="*/ 0 w 293725"/>
                    <a:gd name="connsiteY0" fmla="*/ 164224 h 164224"/>
                    <a:gd name="connsiteX1" fmla="*/ 146863 w 293725"/>
                    <a:gd name="connsiteY1" fmla="*/ 0 h 164224"/>
                    <a:gd name="connsiteX2" fmla="*/ 293725 w 293725"/>
                    <a:gd name="connsiteY2" fmla="*/ 164224 h 164224"/>
                    <a:gd name="connsiteX3" fmla="*/ 0 w 293725"/>
                    <a:gd name="connsiteY3" fmla="*/ 164224 h 164224"/>
                    <a:gd name="connsiteX0" fmla="*/ 2363 w 296088"/>
                    <a:gd name="connsiteY0" fmla="*/ 164221 h 164221"/>
                    <a:gd name="connsiteX1" fmla="*/ 0 w 296088"/>
                    <a:gd name="connsiteY1" fmla="*/ 0 h 164221"/>
                    <a:gd name="connsiteX2" fmla="*/ 296088 w 296088"/>
                    <a:gd name="connsiteY2" fmla="*/ 164221 h 164221"/>
                    <a:gd name="connsiteX3" fmla="*/ 2363 w 296088"/>
                    <a:gd name="connsiteY3" fmla="*/ 164221 h 164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088" h="164221">
                      <a:moveTo>
                        <a:pt x="2363" y="164221"/>
                      </a:moveTo>
                      <a:cubicBezTo>
                        <a:pt x="1575" y="109481"/>
                        <a:pt x="788" y="54740"/>
                        <a:pt x="0" y="0"/>
                      </a:cubicBezTo>
                      <a:lnTo>
                        <a:pt x="296088" y="164221"/>
                      </a:lnTo>
                      <a:lnTo>
                        <a:pt x="2363" y="164221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200">
                    <a:solidFill>
                      <a:prstClr val="whit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60" name="Group 28"/>
                <p:cNvGrpSpPr/>
                <p:nvPr/>
              </p:nvGrpSpPr>
              <p:grpSpPr>
                <a:xfrm>
                  <a:off x="7469187" y="8161191"/>
                  <a:ext cx="1371600" cy="807717"/>
                  <a:chOff x="7469187" y="8161191"/>
                  <a:chExt cx="1371600" cy="807717"/>
                </a:xfrm>
              </p:grpSpPr>
              <p:sp>
                <p:nvSpPr>
                  <p:cNvPr id="61" name="Round Same Side Corner Rectangle 60"/>
                  <p:cNvSpPr/>
                  <p:nvPr/>
                </p:nvSpPr>
                <p:spPr>
                  <a:xfrm rot="5400000">
                    <a:off x="7789227" y="7841151"/>
                    <a:ext cx="731520" cy="1371600"/>
                  </a:xfrm>
                  <a:prstGeom prst="round2SameRect">
                    <a:avLst/>
                  </a:prstGeom>
                  <a:solidFill>
                    <a:srgbClr val="135F82"/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3200">
                      <a:solidFill>
                        <a:prstClr val="white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  <p:sp>
                <p:nvSpPr>
                  <p:cNvPr id="62" name="TextBox 61"/>
                  <p:cNvSpPr txBox="1"/>
                  <p:nvPr/>
                </p:nvSpPr>
                <p:spPr>
                  <a:xfrm>
                    <a:off x="7958807" y="8260940"/>
                    <a:ext cx="507514" cy="70796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4000" b="1" dirty="0">
                        <a:solidFill>
                          <a:prstClr val="white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1</a:t>
                    </a:r>
                  </a:p>
                </p:txBody>
              </p:sp>
            </p:grpSp>
          </p:grpSp>
          <p:grpSp>
            <p:nvGrpSpPr>
              <p:cNvPr id="76" name="Group 32"/>
              <p:cNvGrpSpPr/>
              <p:nvPr/>
            </p:nvGrpSpPr>
            <p:grpSpPr>
              <a:xfrm>
                <a:off x="1447805" y="7603996"/>
                <a:ext cx="1392456" cy="883826"/>
                <a:chOff x="7459669" y="6333639"/>
                <a:chExt cx="1381119" cy="883929"/>
              </a:xfrm>
            </p:grpSpPr>
            <p:sp>
              <p:nvSpPr>
                <p:cNvPr id="77" name="Isosceles Triangle 44"/>
                <p:cNvSpPr/>
                <p:nvPr/>
              </p:nvSpPr>
              <p:spPr>
                <a:xfrm rot="16200000">
                  <a:off x="7469936" y="6323372"/>
                  <a:ext cx="143688" cy="164221"/>
                </a:xfrm>
                <a:custGeom>
                  <a:avLst/>
                  <a:gdLst>
                    <a:gd name="connsiteX0" fmla="*/ 0 w 293725"/>
                    <a:gd name="connsiteY0" fmla="*/ 164224 h 164224"/>
                    <a:gd name="connsiteX1" fmla="*/ 146863 w 293725"/>
                    <a:gd name="connsiteY1" fmla="*/ 0 h 164224"/>
                    <a:gd name="connsiteX2" fmla="*/ 293725 w 293725"/>
                    <a:gd name="connsiteY2" fmla="*/ 164224 h 164224"/>
                    <a:gd name="connsiteX3" fmla="*/ 0 w 293725"/>
                    <a:gd name="connsiteY3" fmla="*/ 164224 h 164224"/>
                    <a:gd name="connsiteX0" fmla="*/ 2363 w 296088"/>
                    <a:gd name="connsiteY0" fmla="*/ 164221 h 164221"/>
                    <a:gd name="connsiteX1" fmla="*/ 0 w 296088"/>
                    <a:gd name="connsiteY1" fmla="*/ 0 h 164221"/>
                    <a:gd name="connsiteX2" fmla="*/ 296088 w 296088"/>
                    <a:gd name="connsiteY2" fmla="*/ 164221 h 164221"/>
                    <a:gd name="connsiteX3" fmla="*/ 2363 w 296088"/>
                    <a:gd name="connsiteY3" fmla="*/ 164221 h 164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088" h="164221">
                      <a:moveTo>
                        <a:pt x="2363" y="164221"/>
                      </a:moveTo>
                      <a:cubicBezTo>
                        <a:pt x="1575" y="109481"/>
                        <a:pt x="788" y="54740"/>
                        <a:pt x="0" y="0"/>
                      </a:cubicBezTo>
                      <a:lnTo>
                        <a:pt x="296088" y="164221"/>
                      </a:lnTo>
                      <a:lnTo>
                        <a:pt x="2363" y="164221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200">
                    <a:solidFill>
                      <a:prstClr val="whit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78" name="Group 41"/>
                <p:cNvGrpSpPr/>
                <p:nvPr/>
              </p:nvGrpSpPr>
              <p:grpSpPr>
                <a:xfrm>
                  <a:off x="7469188" y="6486047"/>
                  <a:ext cx="1371600" cy="731521"/>
                  <a:chOff x="7469188" y="6486047"/>
                  <a:chExt cx="1371600" cy="731521"/>
                </a:xfrm>
              </p:grpSpPr>
              <p:sp>
                <p:nvSpPr>
                  <p:cNvPr id="79" name="Round Same Side Corner Rectangle 78"/>
                  <p:cNvSpPr/>
                  <p:nvPr/>
                </p:nvSpPr>
                <p:spPr>
                  <a:xfrm rot="5400000">
                    <a:off x="7789227" y="6166008"/>
                    <a:ext cx="731521" cy="1371600"/>
                  </a:xfrm>
                  <a:prstGeom prst="round2SameRect">
                    <a:avLst/>
                  </a:prstGeom>
                  <a:solidFill>
                    <a:srgbClr val="135F82"/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3200">
                      <a:solidFill>
                        <a:prstClr val="white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  <p:sp>
                <p:nvSpPr>
                  <p:cNvPr id="80" name="TextBox 79"/>
                  <p:cNvSpPr txBox="1"/>
                  <p:nvPr/>
                </p:nvSpPr>
                <p:spPr>
                  <a:xfrm>
                    <a:off x="7958806" y="6486049"/>
                    <a:ext cx="507513" cy="70796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4000" b="1" dirty="0">
                        <a:solidFill>
                          <a:prstClr val="white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2</a:t>
                    </a:r>
                  </a:p>
                </p:txBody>
              </p:sp>
            </p:grpSp>
          </p:grpSp>
          <p:sp>
            <p:nvSpPr>
              <p:cNvPr id="87" name="TextBox 86"/>
              <p:cNvSpPr txBox="1"/>
              <p:nvPr/>
            </p:nvSpPr>
            <p:spPr>
              <a:xfrm>
                <a:off x="1951043" y="11270142"/>
                <a:ext cx="511679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4000" b="1">
                    <a:solidFill>
                      <a:prstClr val="whit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4</a:t>
                </a:r>
                <a:endParaRPr lang="en-US" sz="4000" b="1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3844753" y="6486123"/>
                <a:ext cx="543740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4400" b="1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</a:t>
                </a: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>
                <a:off x="3809999" y="7688223"/>
                <a:ext cx="543740" cy="769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4400" b="1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</a:t>
                </a:r>
              </a:p>
            </p:txBody>
          </p:sp>
          <p:grpSp>
            <p:nvGrpSpPr>
              <p:cNvPr id="49" name="Group 32"/>
              <p:cNvGrpSpPr/>
              <p:nvPr/>
            </p:nvGrpSpPr>
            <p:grpSpPr>
              <a:xfrm>
                <a:off x="1447803" y="9356599"/>
                <a:ext cx="1392455" cy="914400"/>
                <a:chOff x="7459669" y="6918135"/>
                <a:chExt cx="1785466" cy="914506"/>
              </a:xfrm>
            </p:grpSpPr>
            <p:sp>
              <p:nvSpPr>
                <p:cNvPr id="50" name="Isosceles Triangle 44"/>
                <p:cNvSpPr/>
                <p:nvPr/>
              </p:nvSpPr>
              <p:spPr>
                <a:xfrm rot="16200000">
                  <a:off x="7469936" y="6907868"/>
                  <a:ext cx="143688" cy="164221"/>
                </a:xfrm>
                <a:custGeom>
                  <a:avLst/>
                  <a:gdLst>
                    <a:gd name="connsiteX0" fmla="*/ 0 w 293725"/>
                    <a:gd name="connsiteY0" fmla="*/ 164224 h 164224"/>
                    <a:gd name="connsiteX1" fmla="*/ 146863 w 293725"/>
                    <a:gd name="connsiteY1" fmla="*/ 0 h 164224"/>
                    <a:gd name="connsiteX2" fmla="*/ 293725 w 293725"/>
                    <a:gd name="connsiteY2" fmla="*/ 164224 h 164224"/>
                    <a:gd name="connsiteX3" fmla="*/ 0 w 293725"/>
                    <a:gd name="connsiteY3" fmla="*/ 164224 h 164224"/>
                    <a:gd name="connsiteX0" fmla="*/ 2363 w 296088"/>
                    <a:gd name="connsiteY0" fmla="*/ 164221 h 164221"/>
                    <a:gd name="connsiteX1" fmla="*/ 0 w 296088"/>
                    <a:gd name="connsiteY1" fmla="*/ 0 h 164221"/>
                    <a:gd name="connsiteX2" fmla="*/ 296088 w 296088"/>
                    <a:gd name="connsiteY2" fmla="*/ 164221 h 164221"/>
                    <a:gd name="connsiteX3" fmla="*/ 2363 w 296088"/>
                    <a:gd name="connsiteY3" fmla="*/ 164221 h 164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6088" h="164221">
                      <a:moveTo>
                        <a:pt x="2363" y="164221"/>
                      </a:moveTo>
                      <a:cubicBezTo>
                        <a:pt x="1575" y="109481"/>
                        <a:pt x="788" y="54740"/>
                        <a:pt x="0" y="0"/>
                      </a:cubicBezTo>
                      <a:lnTo>
                        <a:pt x="296088" y="164221"/>
                      </a:lnTo>
                      <a:lnTo>
                        <a:pt x="2363" y="164221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3200">
                    <a:solidFill>
                      <a:prstClr val="white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grpSp>
              <p:nvGrpSpPr>
                <p:cNvPr id="51" name="Group 41"/>
                <p:cNvGrpSpPr/>
                <p:nvPr/>
              </p:nvGrpSpPr>
              <p:grpSpPr>
                <a:xfrm>
                  <a:off x="7469189" y="7044083"/>
                  <a:ext cx="1775946" cy="788558"/>
                  <a:chOff x="7469189" y="7044083"/>
                  <a:chExt cx="1775946" cy="788558"/>
                </a:xfrm>
              </p:grpSpPr>
              <p:sp>
                <p:nvSpPr>
                  <p:cNvPr id="52" name="Round Same Side Corner Rectangle 51"/>
                  <p:cNvSpPr/>
                  <p:nvPr/>
                </p:nvSpPr>
                <p:spPr>
                  <a:xfrm rot="5400000">
                    <a:off x="7962883" y="6550389"/>
                    <a:ext cx="788557" cy="1775946"/>
                  </a:xfrm>
                  <a:prstGeom prst="round2SameRect">
                    <a:avLst/>
                  </a:prstGeom>
                  <a:solidFill>
                    <a:srgbClr val="135F82"/>
                  </a:solidFill>
                  <a:ln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3200">
                      <a:solidFill>
                        <a:prstClr val="white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p:txBody>
              </p:sp>
              <p:sp>
                <p:nvSpPr>
                  <p:cNvPr id="53" name="TextBox 52"/>
                  <p:cNvSpPr txBox="1"/>
                  <p:nvPr/>
                </p:nvSpPr>
                <p:spPr>
                  <a:xfrm>
                    <a:off x="8104940" y="7124673"/>
                    <a:ext cx="656097" cy="70796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sz="4000" b="1" dirty="0">
                        <a:solidFill>
                          <a:prstClr val="white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3</a:t>
                    </a:r>
                  </a:p>
                </p:txBody>
              </p:sp>
            </p:grpSp>
          </p:grpSp>
          <p:sp>
            <p:nvSpPr>
              <p:cNvPr id="68" name="TextBox 67"/>
              <p:cNvSpPr txBox="1"/>
              <p:nvPr/>
            </p:nvSpPr>
            <p:spPr>
              <a:xfrm>
                <a:off x="2114514" y="12402780"/>
                <a:ext cx="184731" cy="707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en-US" sz="4000" b="1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103" name="Google Shape;122;p14">
              <a:extLst>
                <a:ext uri="{FF2B5EF4-FFF2-40B4-BE49-F238E27FC236}">
                  <a16:creationId xmlns:a16="http://schemas.microsoft.com/office/drawing/2014/main" id="{FAF7E6E7-D68E-4774-9801-54F6529B128E}"/>
                </a:ext>
              </a:extLst>
            </p:cNvPr>
            <p:cNvSpPr/>
            <p:nvPr/>
          </p:nvSpPr>
          <p:spPr>
            <a:xfrm>
              <a:off x="3165290" y="3009806"/>
              <a:ext cx="4418523" cy="882637"/>
            </a:xfrm>
            <a:prstGeom prst="rect">
              <a:avLst/>
            </a:prstGeom>
            <a:noFill/>
            <a:ln>
              <a:noFill/>
            </a:ln>
            <a:effectLst>
              <a:outerShdw blurRad="152400" dist="317500" dir="5400000" sx="90000" sy="-19000" rotWithShape="0">
                <a:srgbClr val="000000">
                  <a:alpha val="14901"/>
                </a:srgbClr>
              </a:outerShdw>
            </a:effectLst>
          </p:spPr>
          <p:txBody>
            <a:bodyPr spcFirstLastPara="1" wrap="square" lIns="91425" tIns="45700" rIns="91425" bIns="45700" anchor="t" anchorCtr="0">
              <a:noAutofit/>
              <a:scene3d>
                <a:camera prst="orthographicFront"/>
                <a:lightRig rig="threePt" dir="t"/>
              </a:scene3d>
              <a:sp3d prstMaterial="metal"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0" dirty="0">
                  <a:solidFill>
                    <a:srgbClr val="FF0000"/>
                  </a:solidFill>
                  <a:effectLst>
                    <a:glow rad="76200">
                      <a:srgbClr val="FFFF00">
                        <a:alpha val="47000"/>
                      </a:srgbClr>
                    </a:glow>
                    <a:outerShdw blurRad="50800" dist="38100" dir="18900000" algn="bl" rotWithShape="0">
                      <a:srgbClr val="0000CC">
                        <a:alpha val="40000"/>
                      </a:srgbClr>
                    </a:outerShdw>
                  </a:effectLst>
                  <a:latin typeface="Bahnschrift SemiBold SemiConden" panose="020B0502040204020203" pitchFamily="34" charset="0"/>
                  <a:sym typeface="Baumans"/>
                </a:rPr>
                <a:t>TOÁN ĐẠI SỐ  </a:t>
              </a:r>
              <a:endParaRPr sz="6000" dirty="0">
                <a:solidFill>
                  <a:srgbClr val="FF0000"/>
                </a:solidFill>
                <a:effectLst>
                  <a:glow rad="76200">
                    <a:srgbClr val="FFFF00">
                      <a:alpha val="47000"/>
                    </a:srgbClr>
                  </a:glow>
                  <a:outerShdw blurRad="50800" dist="38100" dir="18900000" algn="bl" rotWithShape="0">
                    <a:srgbClr val="0000CC">
                      <a:alpha val="40000"/>
                    </a:srgbClr>
                  </a:outerShdw>
                </a:effectLst>
                <a:latin typeface="Bahnschrift SemiBold SemiConden" panose="020B0502040204020203" pitchFamily="34" charset="0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7EC462C3-097E-478F-9154-33220765427C}"/>
                </a:ext>
              </a:extLst>
            </p:cNvPr>
            <p:cNvGrpSpPr/>
            <p:nvPr/>
          </p:nvGrpSpPr>
          <p:grpSpPr>
            <a:xfrm>
              <a:off x="4441592" y="3900043"/>
              <a:ext cx="1316269" cy="1323399"/>
              <a:chOff x="4902568" y="2922072"/>
              <a:chExt cx="1316269" cy="1323399"/>
            </a:xfrm>
          </p:grpSpPr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392A2278-170A-49E8-B48D-301797CCDF5E}"/>
                  </a:ext>
                </a:extLst>
              </p:cNvPr>
              <p:cNvGrpSpPr/>
              <p:nvPr/>
            </p:nvGrpSpPr>
            <p:grpSpPr>
              <a:xfrm>
                <a:off x="5015148" y="2971696"/>
                <a:ext cx="1175009" cy="1143519"/>
                <a:chOff x="5015148" y="2971695"/>
                <a:chExt cx="1175009" cy="1143520"/>
              </a:xfrm>
            </p:grpSpPr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4E1041DC-D475-450B-91E9-794165D6DE77}"/>
                    </a:ext>
                  </a:extLst>
                </p:cNvPr>
                <p:cNvSpPr/>
                <p:nvPr/>
              </p:nvSpPr>
              <p:spPr>
                <a:xfrm>
                  <a:off x="5015148" y="2971695"/>
                  <a:ext cx="1175009" cy="1143520"/>
                </a:xfrm>
                <a:prstGeom prst="ellipse">
                  <a:avLst/>
                </a:prstGeom>
                <a:solidFill>
                  <a:srgbClr val="FFFF00"/>
                </a:solidFill>
                <a:effectLst>
                  <a:innerShdw blurRad="63500" dist="508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1BBB2B80-ECD5-421E-A4F7-BBA59D5C9CDF}"/>
                    </a:ext>
                  </a:extLst>
                </p:cNvPr>
                <p:cNvSpPr/>
                <p:nvPr/>
              </p:nvSpPr>
              <p:spPr>
                <a:xfrm>
                  <a:off x="5015148" y="2993775"/>
                  <a:ext cx="1091111" cy="1121440"/>
                </a:xfrm>
                <a:prstGeom prst="ellipse">
                  <a:avLst/>
                </a:prstGeom>
                <a:solidFill>
                  <a:srgbClr val="3333FF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7" name="Google Shape;123;p14">
                <a:extLst>
                  <a:ext uri="{FF2B5EF4-FFF2-40B4-BE49-F238E27FC236}">
                    <a16:creationId xmlns:a16="http://schemas.microsoft.com/office/drawing/2014/main" id="{F38EB064-8955-4FC1-9AF5-C49985002268}"/>
                  </a:ext>
                </a:extLst>
              </p:cNvPr>
              <p:cNvSpPr txBox="1"/>
              <p:nvPr/>
            </p:nvSpPr>
            <p:spPr>
              <a:xfrm>
                <a:off x="4902568" y="2922072"/>
                <a:ext cx="1316269" cy="1323399"/>
              </a:xfrm>
              <a:prstGeom prst="rect">
                <a:avLst/>
              </a:prstGeom>
              <a:noFill/>
              <a:ln>
                <a:noFill/>
              </a:ln>
              <a:effectLst>
                <a:innerShdw blurRad="63500" dist="50800">
                  <a:prstClr val="black">
                    <a:alpha val="50000"/>
                  </a:prstClr>
                </a:innerShdw>
              </a:effectLst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8000" dirty="0">
                    <a:solidFill>
                      <a:schemeClr val="bg1"/>
                    </a:solidFill>
                    <a:latin typeface="Yu Gothic UI Semilight" panose="020B0400000000000000" pitchFamily="34" charset="-128"/>
                    <a:ea typeface="Yu Gothic UI Semilight" panose="020B0400000000000000" pitchFamily="34" charset="-128"/>
                  </a:rPr>
                  <a:t>➉</a:t>
                </a:r>
                <a:endParaRPr sz="80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47AD325-66EE-48DB-9F8D-F8AA55258571}"/>
              </a:ext>
            </a:extLst>
          </p:cNvPr>
          <p:cNvGrpSpPr/>
          <p:nvPr/>
        </p:nvGrpSpPr>
        <p:grpSpPr>
          <a:xfrm>
            <a:off x="7050466" y="3048000"/>
            <a:ext cx="15621908" cy="2551358"/>
            <a:chOff x="61141" y="134810"/>
            <a:chExt cx="6776932" cy="872484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81BFECA0-0F89-4852-8E07-B5554B30D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141" y="138049"/>
              <a:ext cx="6776932" cy="824094"/>
            </a:xfrm>
            <a:prstGeom prst="rect">
              <a:avLst/>
            </a:prstGeom>
          </p:spPr>
        </p:pic>
        <p:sp>
          <p:nvSpPr>
            <p:cNvPr id="65" name="TextBox 321">
              <a:extLst>
                <a:ext uri="{FF2B5EF4-FFF2-40B4-BE49-F238E27FC236}">
                  <a16:creationId xmlns:a16="http://schemas.microsoft.com/office/drawing/2014/main" id="{396955DC-F71D-4106-92C3-22C6C10B7400}"/>
                </a:ext>
              </a:extLst>
            </p:cNvPr>
            <p:cNvSpPr txBox="1"/>
            <p:nvPr/>
          </p:nvSpPr>
          <p:spPr>
            <a:xfrm>
              <a:off x="366091" y="134810"/>
              <a:ext cx="715323" cy="87248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algn="ctr">
                <a:lnSpc>
                  <a:spcPct val="106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6000" b="1" kern="1200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scadia Mono" panose="020B0609020000020004" pitchFamily="49" charset="0"/>
                  <a:cs typeface="Times New Roman" panose="02020603050405020304" pitchFamily="18" charset="0"/>
                </a:rPr>
                <a:t>19</a:t>
              </a:r>
              <a:endParaRPr lang="en-US" sz="6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9394668" y="3507168"/>
            <a:ext cx="11678806" cy="1709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spcAft>
                <a:spcPts val="800"/>
              </a:spcAft>
            </a:pPr>
            <a:r>
              <a:rPr lang="en-US" sz="4800" b="1" dirty="0">
                <a:solidFill>
                  <a:srgbClr val="FCFFEF"/>
                </a:solidFill>
                <a:latin typeface="Times New Roman" pitchFamily="18" charset="0"/>
                <a:ea typeface="Cascadia Mono"/>
                <a:cs typeface="Times New Roman" pitchFamily="18" charset="0"/>
              </a:rPr>
              <a:t>PHƯƠNG TRÌNH ĐƯỜNG THẲNG</a:t>
            </a:r>
          </a:p>
          <a:p>
            <a:pPr algn="ctr">
              <a:lnSpc>
                <a:spcPct val="106000"/>
              </a:lnSpc>
              <a:spcAft>
                <a:spcPts val="800"/>
              </a:spcAft>
            </a:pPr>
            <a:r>
              <a:rPr lang="en-US" sz="4800" b="1" dirty="0">
                <a:solidFill>
                  <a:srgbClr val="FCFFEF"/>
                </a:solidFill>
                <a:effectLst/>
                <a:latin typeface="Times New Roman" pitchFamily="18" charset="0"/>
                <a:ea typeface="Calibri"/>
                <a:cs typeface="Times New Roman" pitchFamily="18" charset="0"/>
              </a:rPr>
              <a:t>(2 </a:t>
            </a:r>
            <a:r>
              <a:rPr lang="en-US" sz="4800" b="1" dirty="0" err="1">
                <a:solidFill>
                  <a:srgbClr val="FCFFEF"/>
                </a:solidFill>
                <a:effectLst/>
                <a:latin typeface="Times New Roman" pitchFamily="18" charset="0"/>
                <a:ea typeface="Calibri"/>
                <a:cs typeface="Times New Roman" pitchFamily="18" charset="0"/>
              </a:rPr>
              <a:t>tiết</a:t>
            </a:r>
            <a:r>
              <a:rPr lang="en-US" sz="4800" b="1" dirty="0">
                <a:solidFill>
                  <a:srgbClr val="FCFFEF"/>
                </a:solidFill>
                <a:effectLst/>
                <a:latin typeface="Times New Roman" pitchFamily="18" charset="0"/>
                <a:ea typeface="Calibri"/>
                <a:cs typeface="Times New Roman" pitchFamily="18" charset="0"/>
              </a:rPr>
              <a:t>)</a:t>
            </a:r>
            <a:endParaRPr lang="en-US" sz="4800" dirty="0">
              <a:effectLst/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323633" y="5924496"/>
            <a:ext cx="14975766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600" b="1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sz="4600" b="1" dirty="0">
                <a:solidFill>
                  <a:srgbClr val="242452"/>
                </a:solidFill>
                <a:latin typeface="Times New Roman" pitchFamily="18" charset="0"/>
                <a:cs typeface="Times New Roman" pitchFamily="18" charset="0"/>
              </a:rPr>
              <a:t>PHƯƠNG TRÌNH TỔNG QUÁT CỦA ĐƯỜNG THẲNG</a:t>
            </a:r>
            <a:endParaRPr lang="en-US" sz="4600" dirty="0">
              <a:solidFill>
                <a:srgbClr val="24245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86951" y="7726224"/>
            <a:ext cx="13872324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600" b="1" dirty="0">
                <a:solidFill>
                  <a:srgbClr val="242452"/>
                </a:solidFill>
                <a:latin typeface="Times New Roman" pitchFamily="18" charset="0"/>
                <a:cs typeface="Times New Roman" pitchFamily="18" charset="0"/>
              </a:rPr>
              <a:t>PHƯƠNG TRÌNH THAM SỐ CỦA ĐƯỜNG THẲNG</a:t>
            </a:r>
            <a:endParaRPr lang="en-US" sz="4600" dirty="0">
              <a:solidFill>
                <a:srgbClr val="24245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586951" y="9516274"/>
            <a:ext cx="2549672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vi-VN" sz="4600" b="1" dirty="0">
                <a:solidFill>
                  <a:srgbClr val="242452"/>
                </a:solidFill>
                <a:latin typeface="Times New Roman" pitchFamily="18" charset="0"/>
                <a:cs typeface="Times New Roman" pitchFamily="18" charset="0"/>
              </a:rPr>
              <a:t>BÀI TẬP</a:t>
            </a:r>
            <a:endParaRPr lang="en-US" sz="4600" dirty="0">
              <a:solidFill>
                <a:srgbClr val="24245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852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5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  <a:endParaRPr lang="en-US" sz="480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</m:oMath>
                </a14:m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0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ét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𝒄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lvl="0" indent="0" algn="just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ề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𝒎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−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𝒄</m:t>
                        </m:r>
                      </m:num>
                      <m:den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𝒂</m:t>
                        </m:r>
                      </m:den>
                    </m:f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lvl="0" indent="0" algn="just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𝑶𝒙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lvl="0" indent="0" algn="just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≠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ề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𝒏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𝒑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lvl="0" indent="0" algn="just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			(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 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𝒏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−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𝒂</m:t>
                        </m:r>
                      </m:num>
                      <m:den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𝒃</m:t>
                        </m:r>
                      </m:den>
                    </m:f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,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𝒑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=−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𝒄</m:t>
                        </m:r>
                      </m:num>
                      <m:den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𝒃</m:t>
                        </m:r>
                      </m:den>
                    </m:f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.</a:t>
                </a:r>
                <a:endParaRPr lang="en-US" b="1" dirty="0">
                  <a:solidFill>
                    <a:prstClr val="black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blipFill>
                <a:blip r:embed="rId3"/>
                <a:stretch>
                  <a:fillRect l="-1161" t="-1469" r="-413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-76200" y="3048001"/>
            <a:ext cx="4495799" cy="865123"/>
            <a:chOff x="1219200" y="1883409"/>
            <a:chExt cx="4234636" cy="865123"/>
          </a:xfrm>
        </p:grpSpPr>
        <p:grpSp>
          <p:nvGrpSpPr>
            <p:cNvPr id="14" name="Group 13"/>
            <p:cNvGrpSpPr/>
            <p:nvPr/>
          </p:nvGrpSpPr>
          <p:grpSpPr>
            <a:xfrm>
              <a:off x="1219200" y="1883409"/>
              <a:ext cx="4234636" cy="865123"/>
              <a:chOff x="10025696" y="6718934"/>
              <a:chExt cx="4234636" cy="865123"/>
            </a:xfrm>
          </p:grpSpPr>
          <p:sp>
            <p:nvSpPr>
              <p:cNvPr id="16" name="Arrow: Pentagon 33"/>
              <p:cNvSpPr/>
              <p:nvPr/>
            </p:nvSpPr>
            <p:spPr>
              <a:xfrm>
                <a:off x="10429865" y="6752717"/>
                <a:ext cx="3810953" cy="80670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Arrow: Chevron 34"/>
              <p:cNvSpPr/>
              <p:nvPr/>
            </p:nvSpPr>
            <p:spPr>
              <a:xfrm>
                <a:off x="10025696" y="6773546"/>
                <a:ext cx="273620" cy="80670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8" name="TextBox 56"/>
              <p:cNvSpPr txBox="1"/>
              <p:nvPr/>
            </p:nvSpPr>
            <p:spPr>
              <a:xfrm>
                <a:off x="10582965" y="6718934"/>
                <a:ext cx="3677367" cy="865123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Luyện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tập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2.</a:t>
                </a:r>
                <a:endParaRPr lang="en-US" sz="4800" b="1" dirty="0"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5" name="Arrow: Chevron 35"/>
            <p:cNvSpPr/>
            <p:nvPr/>
          </p:nvSpPr>
          <p:spPr>
            <a:xfrm>
              <a:off x="1349749" y="1935480"/>
              <a:ext cx="296171" cy="806702"/>
            </a:xfrm>
            <a:prstGeom prst="chevron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en-US" b="1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E11AB10-AEF3-8E01-24EC-00E868706558}"/>
                  </a:ext>
                </a:extLst>
              </p:cNvPr>
              <p:cNvSpPr txBox="1"/>
              <p:nvPr/>
            </p:nvSpPr>
            <p:spPr>
              <a:xfrm>
                <a:off x="2133600" y="4197740"/>
                <a:ext cx="12195110" cy="8199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a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⇔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E11AB10-AEF3-8E01-24EC-00E8687065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3600" y="4197740"/>
                <a:ext cx="12195110" cy="819968"/>
              </a:xfrm>
              <a:prstGeom prst="rect">
                <a:avLst/>
              </a:prstGeom>
              <a:blipFill>
                <a:blip r:embed="rId4"/>
                <a:stretch>
                  <a:fillRect l="-2249" t="-19403" b="-380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90410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50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7.2a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ố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ằ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di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?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ố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ằ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di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𝜟</m:t>
                        </m:r>
                      </m:e>
                      <m: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50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blipFill>
                <a:blip r:embed="rId3"/>
                <a:stretch>
                  <a:fillRect l="-1161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1066800" y="3299665"/>
            <a:ext cx="2792159" cy="838199"/>
            <a:chOff x="853445" y="3032647"/>
            <a:chExt cx="2792159" cy="838199"/>
          </a:xfrm>
        </p:grpSpPr>
        <p:grpSp>
          <p:nvGrpSpPr>
            <p:cNvPr id="12" name="Group 11"/>
            <p:cNvGrpSpPr/>
            <p:nvPr/>
          </p:nvGrpSpPr>
          <p:grpSpPr>
            <a:xfrm>
              <a:off x="853445" y="3032647"/>
              <a:ext cx="2792159" cy="838199"/>
              <a:chOff x="-3796694" y="945148"/>
              <a:chExt cx="5297364" cy="1862095"/>
            </a:xfrm>
          </p:grpSpPr>
          <p:sp>
            <p:nvSpPr>
              <p:cNvPr id="20" name="TextBox 321"/>
              <p:cNvSpPr txBox="1"/>
              <p:nvPr/>
            </p:nvSpPr>
            <p:spPr>
              <a:xfrm>
                <a:off x="-1984442" y="945148"/>
                <a:ext cx="3485112" cy="186209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>
                    <a:solidFill>
                      <a:srgbClr val="D33E03"/>
                    </a:solidFill>
                    <a:effectLst/>
                    <a:latin typeface="Tomaho"/>
                    <a:ea typeface="Tahoma" panose="020B0604030504040204" pitchFamily="34" charset="0"/>
                    <a:cs typeface="Tahoma" panose="020B0604030504040204" pitchFamily="34" charset="0"/>
                  </a:rPr>
                  <a:t>HĐ3: </a:t>
                </a:r>
                <a:endParaRPr lang="en-US" sz="4800" b="1" dirty="0">
                  <a:solidFill>
                    <a:srgbClr val="D33E03"/>
                  </a:solidFill>
                  <a:effectLst/>
                  <a:latin typeface="Tomaho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-3796694" y="1332427"/>
                <a:ext cx="1945947" cy="1087543"/>
                <a:chOff x="-3484263" y="1332427"/>
                <a:chExt cx="1785816" cy="1087543"/>
              </a:xfrm>
            </p:grpSpPr>
            <p:grpSp>
              <p:nvGrpSpPr>
                <p:cNvPr id="22" name="Group 21"/>
                <p:cNvGrpSpPr/>
                <p:nvPr/>
              </p:nvGrpSpPr>
              <p:grpSpPr>
                <a:xfrm>
                  <a:off x="-3484263" y="1332427"/>
                  <a:ext cx="1785816" cy="1087543"/>
                  <a:chOff x="-3902278" y="1992271"/>
                  <a:chExt cx="2000062" cy="1666211"/>
                </a:xfrm>
              </p:grpSpPr>
              <p:sp>
                <p:nvSpPr>
                  <p:cNvPr id="26" name="Arrow: Pentagon 6"/>
                  <p:cNvSpPr/>
                  <p:nvPr/>
                </p:nvSpPr>
                <p:spPr>
                  <a:xfrm>
                    <a:off x="-3902278" y="1992274"/>
                    <a:ext cx="1599070" cy="1666208"/>
                  </a:xfrm>
                  <a:prstGeom prst="homePlate">
                    <a:avLst/>
                  </a:prstGeom>
                  <a:solidFill>
                    <a:schemeClr val="accent5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  <p:sp>
                <p:nvSpPr>
                  <p:cNvPr id="27" name="Arrow: Chevron 11"/>
                  <p:cNvSpPr/>
                  <p:nvPr/>
                </p:nvSpPr>
                <p:spPr>
                  <a:xfrm>
                    <a:off x="-2759185" y="1992271"/>
                    <a:ext cx="856969" cy="1666208"/>
                  </a:xfrm>
                  <a:prstGeom prst="chevron">
                    <a:avLst>
                      <a:gd name="adj" fmla="val 66014"/>
                    </a:avLst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  <a:ln>
                    <a:solidFill>
                      <a:srgbClr val="FFC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</p:grpSp>
            <p:sp>
              <p:nvSpPr>
                <p:cNvPr id="23" name="Flowchart: Terminator 22"/>
                <p:cNvSpPr/>
                <p:nvPr/>
              </p:nvSpPr>
              <p:spPr>
                <a:xfrm>
                  <a:off x="-3367925" y="1476518"/>
                  <a:ext cx="995711" cy="799363"/>
                </a:xfrm>
                <a:prstGeom prst="flowChartTerminator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b="1"/>
                </a:p>
              </p:txBody>
            </p:sp>
            <p:sp>
              <p:nvSpPr>
                <p:cNvPr id="25" name="Oval 24"/>
                <p:cNvSpPr/>
                <p:nvPr/>
              </p:nvSpPr>
              <p:spPr>
                <a:xfrm>
                  <a:off x="-3028523" y="1518566"/>
                  <a:ext cx="611269" cy="737968"/>
                </a:xfrm>
                <a:prstGeom prst="ellipse">
                  <a:avLst/>
                </a:prstGeom>
                <a:solidFill>
                  <a:srgbClr val="3333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4800" b="1"/>
                </a:p>
              </p:txBody>
            </p:sp>
          </p:grpSp>
        </p:grpSp>
        <p:sp>
          <p:nvSpPr>
            <p:cNvPr id="19" name="Arrow: Chevron 12"/>
            <p:cNvSpPr/>
            <p:nvPr/>
          </p:nvSpPr>
          <p:spPr>
            <a:xfrm flipV="1">
              <a:off x="1457568" y="3206977"/>
              <a:ext cx="287623" cy="489543"/>
            </a:xfrm>
            <a:prstGeom prst="chevron">
              <a:avLst>
                <a:gd name="adj" fmla="val 83506"/>
              </a:avLst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b="1"/>
            </a:p>
          </p:txBody>
        </p:sp>
      </p:grpSp>
      <p:pic>
        <p:nvPicPr>
          <p:cNvPr id="29" name="Picture 28"/>
          <p:cNvPicPr/>
          <p:nvPr/>
        </p:nvPicPr>
        <p:blipFill>
          <a:blip r:embed="rId4"/>
          <a:stretch>
            <a:fillRect/>
          </a:stretch>
        </p:blipFill>
        <p:spPr>
          <a:xfrm>
            <a:off x="16459200" y="5323608"/>
            <a:ext cx="7391400" cy="7858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6409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  <a:endParaRPr lang="en-US" sz="480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None/>
                </a:pPr>
                <a:endParaRPr lang="en-US" b="1" dirty="0">
                  <a:solidFill>
                    <a:srgbClr val="ED7D3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ét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lvl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𝒖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lvl="0" indent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𝒌</m:t>
                    </m:r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𝒌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≠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ũng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lvl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oà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oà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iế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lvl="0" indent="0"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algn="just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§"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ượ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ạ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blipFill>
                <a:blip r:embed="rId3"/>
                <a:stretch>
                  <a:fillRect l="-1161" r="-1135" b="-705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Picture 29"/>
          <p:cNvPicPr/>
          <p:nvPr/>
        </p:nvPicPr>
        <p:blipFill>
          <a:blip r:embed="rId4"/>
          <a:stretch>
            <a:fillRect/>
          </a:stretch>
        </p:blipFill>
        <p:spPr>
          <a:xfrm>
            <a:off x="17207692" y="3276600"/>
            <a:ext cx="6795308" cy="58674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Rounded Rectangle 3"/>
              <p:cNvSpPr/>
              <p:nvPr/>
            </p:nvSpPr>
            <p:spPr>
              <a:xfrm>
                <a:off x="609600" y="3276600"/>
                <a:ext cx="16383000" cy="2971800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sz="4800" b="1" dirty="0" err="1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8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á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𝟎</m:t>
                        </m:r>
                      </m:e>
                    </m:acc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8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8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song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o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oặ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ù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4" name="Rounded Rectangle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" y="3276600"/>
                <a:ext cx="16383000" cy="2971800"/>
              </a:xfrm>
              <a:prstGeom prst="roundRect">
                <a:avLst/>
              </a:prstGeom>
              <a:blipFill>
                <a:blip r:embed="rId5"/>
                <a:stretch>
                  <a:fillRect l="-781" r="-743" b="-4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95008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457200" y="1879601"/>
            <a:ext cx="235458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lvl="0" defTabSz="2177278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  <a:endParaRPr lang="en-US" sz="480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200" y="3048001"/>
                <a:ext cx="115824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e>
                    </m:d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endParaRPr lang="en-US" b="1" u="sng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𝟔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ấy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−</m:t>
                    </m:r>
                    <m:f>
                      <m:f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num>
                      <m:den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den>
                    </m:f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ũ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50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" y="3048001"/>
                <a:ext cx="11582400" cy="10363199"/>
              </a:xfrm>
              <a:prstGeom prst="rect">
                <a:avLst/>
              </a:prstGeom>
              <a:blipFill>
                <a:blip r:embed="rId3"/>
                <a:stretch>
                  <a:fillRect l="-2313" t="-1469" r="-2313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718458" y="3041244"/>
            <a:ext cx="3640182" cy="846967"/>
            <a:chOff x="27395" y="60714"/>
            <a:chExt cx="1260580" cy="157054"/>
          </a:xfrm>
        </p:grpSpPr>
        <p:grpSp>
          <p:nvGrpSpPr>
            <p:cNvPr id="14" name="Group 13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16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8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</p:grpSp>
        <p:sp>
          <p:nvSpPr>
            <p:cNvPr id="15" name="TextBox 56"/>
            <p:cNvSpPr txBox="1"/>
            <p:nvPr/>
          </p:nvSpPr>
          <p:spPr>
            <a:xfrm>
              <a:off x="250984" y="68068"/>
              <a:ext cx="884516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4800" b="1" kern="120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 dụ </a:t>
              </a:r>
              <a:r>
                <a:rPr lang="en-US" sz="4800" b="1">
                  <a:solidFill>
                    <a:srgbClr val="0000CC"/>
                  </a:solidFill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4</a:t>
              </a:r>
              <a:r>
                <a:rPr lang="en-US" sz="4800" b="1" kern="120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lang="en-US" sz="4800" b="1">
                <a:effectLst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192000" y="3086964"/>
                <a:ext cx="118110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𝟐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endParaRPr lang="en-US" b="1" u="sng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50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192000" y="3086964"/>
                <a:ext cx="11811000" cy="10363199"/>
              </a:xfrm>
              <a:prstGeom prst="rect">
                <a:avLst/>
              </a:prstGeom>
              <a:blipFill>
                <a:blip r:embed="rId4"/>
                <a:stretch>
                  <a:fillRect l="-2268" t="-1469" r="-2216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/>
          <p:cNvGrpSpPr/>
          <p:nvPr/>
        </p:nvGrpSpPr>
        <p:grpSpPr>
          <a:xfrm>
            <a:off x="12073190" y="3048001"/>
            <a:ext cx="4538410" cy="865123"/>
            <a:chOff x="1219200" y="1883409"/>
            <a:chExt cx="4234636" cy="865123"/>
          </a:xfrm>
        </p:grpSpPr>
        <p:grpSp>
          <p:nvGrpSpPr>
            <p:cNvPr id="21" name="Group 20"/>
            <p:cNvGrpSpPr/>
            <p:nvPr/>
          </p:nvGrpSpPr>
          <p:grpSpPr>
            <a:xfrm>
              <a:off x="1219200" y="1883409"/>
              <a:ext cx="4234636" cy="865123"/>
              <a:chOff x="10025696" y="6718934"/>
              <a:chExt cx="4234636" cy="865123"/>
            </a:xfrm>
          </p:grpSpPr>
          <p:sp>
            <p:nvSpPr>
              <p:cNvPr id="23" name="Arrow: Pentagon 33"/>
              <p:cNvSpPr/>
              <p:nvPr/>
            </p:nvSpPr>
            <p:spPr>
              <a:xfrm>
                <a:off x="10429865" y="6752717"/>
                <a:ext cx="3810953" cy="80670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Arrow: Chevron 34"/>
              <p:cNvSpPr/>
              <p:nvPr/>
            </p:nvSpPr>
            <p:spPr>
              <a:xfrm>
                <a:off x="10025696" y="6773546"/>
                <a:ext cx="273620" cy="80670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26" name="TextBox 56"/>
              <p:cNvSpPr txBox="1"/>
              <p:nvPr/>
            </p:nvSpPr>
            <p:spPr>
              <a:xfrm>
                <a:off x="10582965" y="6718934"/>
                <a:ext cx="3677367" cy="865123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Luyện tập </a:t>
                </a:r>
                <a:r>
                  <a:rPr lang="en-US" sz="4800" b="1">
                    <a:solidFill>
                      <a:srgbClr val="0000CC"/>
                    </a:solidFill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3</a:t>
                </a:r>
                <a:r>
                  <a:rPr lang="en-US" sz="4800" b="1" kern="120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.</a:t>
                </a:r>
                <a:endParaRPr lang="en-US" sz="4800" b="1"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2" name="Arrow: Chevron 35"/>
            <p:cNvSpPr/>
            <p:nvPr/>
          </p:nvSpPr>
          <p:spPr>
            <a:xfrm>
              <a:off x="1349749" y="1935480"/>
              <a:ext cx="296171" cy="806702"/>
            </a:xfrm>
            <a:prstGeom prst="chevron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41092465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12" grpId="0" animBg="1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449357" y="1696734"/>
            <a:ext cx="236982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6442" y="2865134"/>
                <a:ext cx="23766557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iệ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𝑶𝒙𝒚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ở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à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ều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ố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ỏ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?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ứ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minh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ằ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(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&gt;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í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ở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à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ở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í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𝒕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𝒕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ử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(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&gt;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)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í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ở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à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ở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í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𝒗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ù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ồ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ự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</m:oMath>
                </a14:m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442" y="2865134"/>
                <a:ext cx="23766557" cy="10363199"/>
              </a:xfrm>
              <a:prstGeom prst="rect">
                <a:avLst/>
              </a:prstGeom>
              <a:blipFill>
                <a:blip r:embed="rId3"/>
                <a:stretch>
                  <a:fillRect l="-1154" t="-1351" r="-1128" b="-999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/>
          <p:cNvGrpSpPr/>
          <p:nvPr/>
        </p:nvGrpSpPr>
        <p:grpSpPr>
          <a:xfrm>
            <a:off x="483108" y="2865134"/>
            <a:ext cx="2856452" cy="838199"/>
            <a:chOff x="853445" y="3032647"/>
            <a:chExt cx="2792159" cy="838199"/>
          </a:xfrm>
        </p:grpSpPr>
        <p:grpSp>
          <p:nvGrpSpPr>
            <p:cNvPr id="7" name="Group 6"/>
            <p:cNvGrpSpPr/>
            <p:nvPr/>
          </p:nvGrpSpPr>
          <p:grpSpPr>
            <a:xfrm>
              <a:off x="853445" y="3032647"/>
              <a:ext cx="2792159" cy="838199"/>
              <a:chOff x="-3796694" y="945148"/>
              <a:chExt cx="5297364" cy="1862095"/>
            </a:xfrm>
          </p:grpSpPr>
          <p:sp>
            <p:nvSpPr>
              <p:cNvPr id="9" name="TextBox 321"/>
              <p:cNvSpPr txBox="1"/>
              <p:nvPr/>
            </p:nvSpPr>
            <p:spPr>
              <a:xfrm>
                <a:off x="-1984442" y="945148"/>
                <a:ext cx="3485112" cy="186209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>
                    <a:solidFill>
                      <a:srgbClr val="D33E03"/>
                    </a:solidFill>
                    <a:effectLst/>
                    <a:latin typeface="Tomaho"/>
                    <a:ea typeface="Tahoma" panose="020B0604030504040204" pitchFamily="34" charset="0"/>
                    <a:cs typeface="Tahoma" panose="020B0604030504040204" pitchFamily="34" charset="0"/>
                  </a:rPr>
                  <a:t>HĐ4:</a:t>
                </a:r>
                <a:endParaRPr lang="en-US" sz="4800" b="1" dirty="0">
                  <a:solidFill>
                    <a:srgbClr val="D33E03"/>
                  </a:solidFill>
                  <a:effectLst/>
                  <a:latin typeface="Tomaho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10" name="Group 9"/>
              <p:cNvGrpSpPr/>
              <p:nvPr/>
            </p:nvGrpSpPr>
            <p:grpSpPr>
              <a:xfrm>
                <a:off x="-3796694" y="1332427"/>
                <a:ext cx="1945947" cy="1087543"/>
                <a:chOff x="-3484263" y="1332427"/>
                <a:chExt cx="1785816" cy="1087543"/>
              </a:xfrm>
            </p:grpSpPr>
            <p:grpSp>
              <p:nvGrpSpPr>
                <p:cNvPr id="11" name="Group 10"/>
                <p:cNvGrpSpPr/>
                <p:nvPr/>
              </p:nvGrpSpPr>
              <p:grpSpPr>
                <a:xfrm>
                  <a:off x="-3484263" y="1332427"/>
                  <a:ext cx="1785816" cy="1087543"/>
                  <a:chOff x="-3902278" y="1992271"/>
                  <a:chExt cx="2000062" cy="1666211"/>
                </a:xfrm>
              </p:grpSpPr>
              <p:sp>
                <p:nvSpPr>
                  <p:cNvPr id="14" name="Arrow: Pentagon 6"/>
                  <p:cNvSpPr/>
                  <p:nvPr/>
                </p:nvSpPr>
                <p:spPr>
                  <a:xfrm>
                    <a:off x="-3902278" y="1992274"/>
                    <a:ext cx="1599070" cy="1666208"/>
                  </a:xfrm>
                  <a:prstGeom prst="homePlate">
                    <a:avLst/>
                  </a:prstGeom>
                  <a:solidFill>
                    <a:schemeClr val="accent5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  <p:sp>
                <p:nvSpPr>
                  <p:cNvPr id="15" name="Arrow: Chevron 11"/>
                  <p:cNvSpPr/>
                  <p:nvPr/>
                </p:nvSpPr>
                <p:spPr>
                  <a:xfrm>
                    <a:off x="-2759185" y="1992271"/>
                    <a:ext cx="856969" cy="1666208"/>
                  </a:xfrm>
                  <a:prstGeom prst="chevron">
                    <a:avLst>
                      <a:gd name="adj" fmla="val 66014"/>
                    </a:avLst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  <a:ln>
                    <a:solidFill>
                      <a:srgbClr val="FFC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</p:grpSp>
            <p:sp>
              <p:nvSpPr>
                <p:cNvPr id="12" name="Flowchart: Terminator 11"/>
                <p:cNvSpPr/>
                <p:nvPr/>
              </p:nvSpPr>
              <p:spPr>
                <a:xfrm>
                  <a:off x="-3367925" y="1476518"/>
                  <a:ext cx="995711" cy="799363"/>
                </a:xfrm>
                <a:prstGeom prst="flowChartTerminator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b="1"/>
                </a:p>
              </p:txBody>
            </p:sp>
            <p:sp>
              <p:nvSpPr>
                <p:cNvPr id="13" name="Oval 12"/>
                <p:cNvSpPr/>
                <p:nvPr/>
              </p:nvSpPr>
              <p:spPr>
                <a:xfrm>
                  <a:off x="-3028523" y="1518566"/>
                  <a:ext cx="611269" cy="737968"/>
                </a:xfrm>
                <a:prstGeom prst="ellipse">
                  <a:avLst/>
                </a:prstGeom>
                <a:solidFill>
                  <a:srgbClr val="3333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4800" b="1"/>
                </a:p>
              </p:txBody>
            </p:sp>
          </p:grpSp>
        </p:grpSp>
        <p:sp>
          <p:nvSpPr>
            <p:cNvPr id="8" name="Arrow: Chevron 12"/>
            <p:cNvSpPr/>
            <p:nvPr/>
          </p:nvSpPr>
          <p:spPr>
            <a:xfrm flipV="1">
              <a:off x="1457568" y="3206977"/>
              <a:ext cx="287623" cy="489543"/>
            </a:xfrm>
            <a:prstGeom prst="chevron">
              <a:avLst>
                <a:gd name="adj" fmla="val 83506"/>
              </a:avLst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42640125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04800" y="1879601"/>
            <a:ext cx="23698200" cy="9397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4800" y="3048001"/>
                <a:ext cx="236982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Do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</m:t>
                    </m:r>
                    <m:d>
                      <m:dPr>
                        <m:begChr m:val="{"/>
                        <m:endChr m:val="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𝟒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</m:t>
                    </m:r>
                    <m:d>
                      <m:dPr>
                        <m:begChr m:val="{"/>
                        <m:endChr m:val="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𝟒</m:t>
                            </m:r>
                            <m: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𝒕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𝒕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𝒕</m:t>
                    </m:r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∈</m:t>
                    </m:r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ℝ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3048001"/>
                <a:ext cx="23698200" cy="10363199"/>
              </a:xfrm>
              <a:prstGeom prst="rect">
                <a:avLst/>
              </a:prstGeom>
              <a:blipFill>
                <a:blip r:embed="rId3"/>
                <a:stretch>
                  <a:fillRect l="-386" t="-470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ounded Rectangle 1"/>
              <p:cNvSpPr/>
              <p:nvPr/>
            </p:nvSpPr>
            <p:spPr>
              <a:xfrm>
                <a:off x="304800" y="7162800"/>
                <a:ext cx="23698200" cy="6248400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>
                  <a:lnSpc>
                    <a:spcPct val="106000"/>
                  </a:lnSpc>
                  <a:spcAft>
                    <a:spcPts val="0"/>
                  </a:spcAft>
                </a:pPr>
                <a:r>
                  <a:rPr lang="en-US" sz="48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 </a:t>
                </a:r>
                <a:r>
                  <a:rPr lang="en-US" sz="4800" b="1" dirty="0" err="1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𝟎</m:t>
                            </m:r>
                          </m:sub>
                        </m:sSub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𝟎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Khi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ồn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ự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𝒕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o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endParaRPr lang="en-US" sz="4800" b="1" dirty="0">
                  <a:solidFill>
                    <a:schemeClr val="tx1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algn="just">
                  <a:lnSpc>
                    <a:spcPct val="106000"/>
                  </a:lnSpc>
                  <a:spcAft>
                    <a:spcPts val="0"/>
                  </a:spcAft>
                </a:pP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𝒕</m:t>
                    </m:r>
                    <m:acc>
                      <m:accPr>
                        <m:chr m:val="⃗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hay </a:t>
                </a:r>
              </a:p>
              <a:p>
                <a:pPr algn="just">
                  <a:lnSpc>
                    <a:spcPct val="106000"/>
                  </a:lnSpc>
                  <a:spcAft>
                    <a:spcPts val="0"/>
                  </a:spcAft>
                </a:pP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                  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8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𝟎</m:t>
                                </m:r>
                              </m:sub>
                            </m:sSub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𝒂𝒕</m:t>
                            </m:r>
                          </m:e>
                          <m:e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𝒚</m:t>
                                </m:r>
                              </m:e>
                              <m:sub>
                                <m:r>
                                  <a:rPr lang="en-US" sz="4800" b="1" i="1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𝟎</m:t>
                                </m:r>
                              </m:sub>
                            </m:sSub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sz="4800" b="1" i="1">
                                <a:solidFill>
                                  <a:schemeClr val="tx1"/>
                                </a:solidFill>
                                <a:effectLst/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𝒃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(2)</a:t>
                </a:r>
              </a:p>
              <a:p>
                <a:pPr algn="just"/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ệ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2)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t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8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.</a:t>
                </a:r>
                <a:endParaRPr lang="en-US" sz="4800" b="1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" name="Rounded 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7162800"/>
                <a:ext cx="23698200" cy="6248400"/>
              </a:xfrm>
              <a:prstGeom prst="roundRect">
                <a:avLst/>
              </a:prstGeom>
              <a:blipFill rotWithShape="1">
                <a:blip r:embed="rId4"/>
                <a:stretch>
                  <a:fillRect r="-6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789776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lvl="0" defTabSz="2177278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48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  <a:endParaRPr lang="en-US" sz="480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1"/>
                <a:ext cx="1099692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b="1" i="1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Calibri" panose="020F0502020204030204" pitchFamily="34" charset="0"/>
                    <a:cs typeface="Cambria Math" panose="02040503050406030204" pitchFamily="18" charset="0"/>
                  </a:rPr>
                  <a:t>	  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 </m:t>
                    </m:r>
                    <m:d>
                      <m:dPr>
                        <m:begChr m:val="{"/>
                        <m:endChr m:val="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𝟒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−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1"/>
                <a:ext cx="10996920" cy="10363199"/>
              </a:xfrm>
              <a:prstGeom prst="rect">
                <a:avLst/>
              </a:prstGeom>
              <a:blipFill>
                <a:blip r:embed="rId3"/>
                <a:stretch>
                  <a:fillRect l="-2493" t="-1469" r="-2493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381000" y="3015118"/>
            <a:ext cx="3803779" cy="846967"/>
            <a:chOff x="27395" y="60714"/>
            <a:chExt cx="1260580" cy="157054"/>
          </a:xfrm>
        </p:grpSpPr>
        <p:grpSp>
          <p:nvGrpSpPr>
            <p:cNvPr id="14" name="Group 13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16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8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</p:grpSp>
        <p:sp>
          <p:nvSpPr>
            <p:cNvPr id="15" name="TextBox 56"/>
            <p:cNvSpPr txBox="1"/>
            <p:nvPr/>
          </p:nvSpPr>
          <p:spPr>
            <a:xfrm>
              <a:off x="250984" y="68068"/>
              <a:ext cx="884516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4800" b="1" kern="120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 dụ </a:t>
              </a:r>
              <a:r>
                <a:rPr lang="en-US" sz="4800" b="1">
                  <a:solidFill>
                    <a:srgbClr val="0000CC"/>
                  </a:solidFill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5</a:t>
              </a:r>
              <a:r>
                <a:rPr lang="en-US" sz="4800" b="1" kern="120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lang="en-US" sz="4800" b="1">
                <a:effectLst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1539296" y="3086964"/>
                <a:ext cx="12463705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song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o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𝒅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𝒅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song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o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𝒅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𝒅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do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𝒅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𝒖</m:t>
                        </m:r>
                      </m:e>
                    </m:acc>
                    <m:d>
                      <m:dPr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sz="46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spcBef>
                    <a:spcPts val="0"/>
                  </a:spcBef>
                  <a:buNone/>
                </a:pP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6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6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6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4600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−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𝟒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&amp;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lang="en-US" sz="4600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sz="46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39296" y="3086964"/>
                <a:ext cx="12463705" cy="10363199"/>
              </a:xfrm>
              <a:prstGeom prst="rect">
                <a:avLst/>
              </a:prstGeom>
              <a:blipFill>
                <a:blip r:embed="rId4"/>
                <a:stretch>
                  <a:fillRect l="-2198" t="-1469" r="-2101" b="-1175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/>
          <p:cNvGrpSpPr/>
          <p:nvPr/>
        </p:nvGrpSpPr>
        <p:grpSpPr>
          <a:xfrm>
            <a:off x="11573932" y="3054777"/>
            <a:ext cx="4504268" cy="865123"/>
            <a:chOff x="1219200" y="1883409"/>
            <a:chExt cx="4234636" cy="865123"/>
          </a:xfrm>
        </p:grpSpPr>
        <p:grpSp>
          <p:nvGrpSpPr>
            <p:cNvPr id="21" name="Group 20"/>
            <p:cNvGrpSpPr/>
            <p:nvPr/>
          </p:nvGrpSpPr>
          <p:grpSpPr>
            <a:xfrm>
              <a:off x="1219200" y="1883409"/>
              <a:ext cx="4234636" cy="865123"/>
              <a:chOff x="10025696" y="6718934"/>
              <a:chExt cx="4234636" cy="865123"/>
            </a:xfrm>
          </p:grpSpPr>
          <p:sp>
            <p:nvSpPr>
              <p:cNvPr id="23" name="Arrow: Pentagon 33"/>
              <p:cNvSpPr/>
              <p:nvPr/>
            </p:nvSpPr>
            <p:spPr>
              <a:xfrm>
                <a:off x="10429865" y="6752717"/>
                <a:ext cx="3810953" cy="80670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Arrow: Chevron 34"/>
              <p:cNvSpPr/>
              <p:nvPr/>
            </p:nvSpPr>
            <p:spPr>
              <a:xfrm>
                <a:off x="10025696" y="6773546"/>
                <a:ext cx="273620" cy="80670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26" name="TextBox 56"/>
              <p:cNvSpPr txBox="1"/>
              <p:nvPr/>
            </p:nvSpPr>
            <p:spPr>
              <a:xfrm>
                <a:off x="10582965" y="6718934"/>
                <a:ext cx="3677367" cy="865123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Luyện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tập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sz="4800" b="1" dirty="0">
                    <a:solidFill>
                      <a:srgbClr val="0000CC"/>
                    </a:solidFill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4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.</a:t>
                </a:r>
                <a:endParaRPr lang="en-US" sz="4800" b="1" dirty="0"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2" name="Arrow: Chevron 35"/>
            <p:cNvSpPr/>
            <p:nvPr/>
          </p:nvSpPr>
          <p:spPr>
            <a:xfrm>
              <a:off x="1349749" y="1935480"/>
              <a:ext cx="296171" cy="806702"/>
            </a:xfrm>
            <a:prstGeom prst="chevron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en-US" b="1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FC1A061-5BCE-CA81-3273-A0879B9F6D9F}"/>
                  </a:ext>
                </a:extLst>
              </p:cNvPr>
              <p:cNvSpPr txBox="1"/>
              <p:nvPr/>
            </p:nvSpPr>
            <p:spPr>
              <a:xfrm>
                <a:off x="3505200" y="8839200"/>
                <a:ext cx="6019800" cy="15683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kumimoji="0" lang="en-US" sz="43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𝒒𝒖𝒂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𝑨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; − 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m:rPr>
                                <m:nor/>
                              </m:rPr>
                              <a:rPr lang="en-US" b="1">
                                <a:latin typeface="Tahoma" panose="020B0604030504040204" pitchFamily="34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  <m:e>
                            <m:r>
                              <m:rPr>
                                <m:nor/>
                              </m:rPr>
                              <a:rPr lang="en-US" b="1" i="0" dirty="0" smtClean="0">
                                <a:latin typeface="Tahoma" panose="020B0604030504040204" pitchFamily="34" charset="0"/>
                                <a:ea typeface="Tahoma" panose="020B0604030504040204" pitchFamily="34" charset="0"/>
                                <a:cs typeface="Tahoma" panose="020B0604030504040204" pitchFamily="34" charset="0"/>
                              </a:rPr>
                              <m:t>vtcp</m:t>
                            </m:r>
                            <m:r>
                              <m:rPr>
                                <m:nor/>
                              </m:rPr>
                              <a:rPr lang="en-US" b="1" i="0" dirty="0" smtClean="0">
                                <a:latin typeface="Tahoma" panose="020B0604030504040204" pitchFamily="34" charset="0"/>
                                <a:ea typeface="Tahoma" panose="020B0604030504040204" pitchFamily="34" charset="0"/>
                                <a:cs typeface="Tahoma" panose="020B0604030504040204" pitchFamily="34" charset="0"/>
                              </a:rPr>
                              <m:t> </m:t>
                            </m:r>
                            <m:acc>
                              <m:accPr>
                                <m:chr m:val="⃗"/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𝒖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𝟒</m:t>
                                </m:r>
                                <m: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;</m:t>
                                </m:r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e>
                            </m:d>
                          </m:e>
                        </m:eqArr>
                      </m:e>
                    </m:d>
                  </m:oMath>
                </a14:m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dirty="0">
                  <a:latin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FC1A061-5BCE-CA81-3273-A0879B9F6D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5200" y="8839200"/>
                <a:ext cx="6019800" cy="156837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157002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12" grpId="0" animBg="1"/>
      <p:bldP spid="19" grpId="0" animBg="1"/>
      <p:bldP spid="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  <a:endParaRPr lang="en-US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𝟓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Do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1"/>
                <a:ext cx="23622000" cy="10363199"/>
              </a:xfrm>
              <a:prstGeom prst="rect">
                <a:avLst/>
              </a:prstGeom>
              <a:blipFill>
                <a:blip r:embed="rId3"/>
                <a:stretch>
                  <a:fillRect l="-1161" t="-1469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oup 4"/>
          <p:cNvGrpSpPr/>
          <p:nvPr/>
        </p:nvGrpSpPr>
        <p:grpSpPr>
          <a:xfrm>
            <a:off x="609600" y="3019472"/>
            <a:ext cx="3499083" cy="846967"/>
            <a:chOff x="27395" y="60714"/>
            <a:chExt cx="1260580" cy="157054"/>
          </a:xfrm>
        </p:grpSpPr>
        <p:grpSp>
          <p:nvGrpSpPr>
            <p:cNvPr id="6" name="Group 5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8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0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</p:grpSp>
        <p:sp>
          <p:nvSpPr>
            <p:cNvPr id="7" name="TextBox 56"/>
            <p:cNvSpPr txBox="1"/>
            <p:nvPr/>
          </p:nvSpPr>
          <p:spPr>
            <a:xfrm>
              <a:off x="250984" y="68068"/>
              <a:ext cx="884516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4800" b="1" kern="1200" dirty="0" err="1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4800" b="1" kern="1200" dirty="0" err="1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dụ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4800" b="1" dirty="0">
                  <a:solidFill>
                    <a:srgbClr val="0000CC"/>
                  </a:solidFill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6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lang="en-US" sz="4800" b="1" dirty="0">
                <a:effectLst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F0CEAC8-1F30-D011-F36B-1FBEDD637F92}"/>
                  </a:ext>
                </a:extLst>
              </p:cNvPr>
              <p:cNvSpPr txBox="1"/>
              <p:nvPr/>
            </p:nvSpPr>
            <p:spPr>
              <a:xfrm>
                <a:off x="10466299" y="5950602"/>
                <a:ext cx="5307101" cy="181100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>
                          <a:latin typeface="Cambria Math" panose="02040503050406030204" pitchFamily="18" charset="0"/>
                          <a:ea typeface="Calibri" panose="020F0502020204030204" pitchFamily="34" charset="0"/>
                          <a:cs typeface="Cambria Math" panose="02040503050406030204" pitchFamily="18" charset="0"/>
                        </a:rPr>
                        <m:t>⇔ </m:t>
                      </m:r>
                      <m:d>
                        <m:dPr>
                          <m:begChr m:val="{"/>
                          <m:endChr m:val=""/>
                          <m:ctrlPr>
                            <a:rPr kumimoji="0" lang="en-US" sz="4300" b="1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kumimoji="0" lang="en-US" sz="4300" b="1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eqArrPr>
                            <m:e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𝒒𝒖𝒂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𝑨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cs typeface="Times New Roman" panose="02020603050405020304" pitchFamily="18" charset="0"/>
                                </a:rPr>
                                <m:t>(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𝟐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;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𝟑</m:t>
                              </m:r>
                              <m:r>
                                <m:rPr>
                                  <m:nor/>
                                </m:rPr>
                                <a:rPr lang="en-US" b="1">
                                  <a:latin typeface="Tahoma" panose="020B0604030504040204" pitchFamily="34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)</m:t>
                              </m:r>
                            </m:e>
                            <m:e>
                              <m:r>
                                <m:rPr>
                                  <m:nor/>
                                </m:rPr>
                                <a:rPr lang="en-US" b="1" i="0" dirty="0" smtClean="0">
                                  <a:latin typeface="Tahoma" panose="020B0604030504040204" pitchFamily="34" charset="0"/>
                                  <a:ea typeface="Tahoma" panose="020B0604030504040204" pitchFamily="34" charset="0"/>
                                  <a:cs typeface="Tahoma" panose="020B0604030504040204" pitchFamily="34" charset="0"/>
                                </a:rPr>
                                <m:t>vtcp</m:t>
                              </m:r>
                              <m:r>
                                <m:rPr>
                                  <m:nor/>
                                </m:rPr>
                                <a:rPr lang="en-US" b="1" i="0" dirty="0" smtClean="0">
                                  <a:latin typeface="Tahoma" panose="020B0604030504040204" pitchFamily="34" charset="0"/>
                                  <a:ea typeface="Tahoma" panose="020B0604030504040204" pitchFamily="34" charset="0"/>
                                  <a:cs typeface="Tahoma" panose="020B0604030504040204" pitchFamily="34" charset="0"/>
                                </a:rPr>
                                <m:t> </m:t>
                              </m:r>
                              <m:acc>
                                <m:accPr>
                                  <m:chr m:val="⃗"/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  <m:t>𝑨𝑩</m:t>
                                  </m:r>
                                </m:e>
                              </m:acc>
                              <m:d>
                                <m:dPr>
                                  <m:ctrlP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  <m:t>−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  <m:t>𝟏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  <m:t>;</m:t>
                                  </m:r>
                                  <m:r>
                                    <a:rPr lang="en-US" b="1" i="1">
                                      <a:latin typeface="Cambria Math" panose="02040503050406030204" pitchFamily="18" charset="0"/>
                                      <a:ea typeface="Calibri" panose="020F0502020204030204" pitchFamily="34" charset="0"/>
                                      <a:cs typeface="Times New Roman" panose="02020603050405020304" pitchFamily="18" charset="0"/>
                                    </a:rPr>
                                    <m:t>𝟐</m:t>
                                  </m:r>
                                </m:e>
                              </m:d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latin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F0CEAC8-1F30-D011-F36B-1FBEDD637F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66299" y="5950602"/>
                <a:ext cx="5307101" cy="181100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C8BA0EB-594E-408B-E57C-1FC737037AFD}"/>
                  </a:ext>
                </a:extLst>
              </p:cNvPr>
              <p:cNvSpPr txBox="1"/>
              <p:nvPr/>
            </p:nvSpPr>
            <p:spPr>
              <a:xfrm>
                <a:off x="768117" y="5978633"/>
                <a:ext cx="12708082" cy="15683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 </a:t>
                </a:r>
                <a:r>
                  <a:rPr kumimoji="0" lang="en-US" sz="43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3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3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</a:t>
                </a:r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kumimoji="0" lang="en-US" sz="43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𝒒𝒖𝒂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𝑨</m:t>
                            </m:r>
                            <m:d>
                              <m:dPr>
                                <m:ctrlPr>
                                  <a:rPr kumimoji="0" lang="en-US" sz="43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0" lang="en-US" sz="43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𝟐</m:t>
                                </m:r>
                                <m:r>
                                  <a:rPr kumimoji="0" lang="en-US" sz="43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;</m:t>
                                </m:r>
                                <m:r>
                                  <a:rPr kumimoji="0" lang="en-US" sz="43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𝟑</m:t>
                                </m:r>
                              </m:e>
                            </m:d>
                          </m:e>
                          <m:e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𝒒𝒖𝒂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 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𝑩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(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;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𝟓</m:t>
                            </m:r>
                            <m:r>
                              <a:rPr kumimoji="0" lang="en-US" sz="43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</m:eqArr>
                      </m:e>
                    </m:d>
                  </m:oMath>
                </a14:m>
                <a:endParaRPr lang="en-US" dirty="0">
                  <a:latin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C8BA0EB-594E-408B-E57C-1FC737037A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8117" y="5978633"/>
                <a:ext cx="12708082" cy="1568378"/>
              </a:xfrm>
              <a:prstGeom prst="rect">
                <a:avLst/>
              </a:prstGeom>
              <a:blipFill>
                <a:blip r:embed="rId5"/>
                <a:stretch>
                  <a:fillRect l="-18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64040B4-B902-8A84-73CF-111F058BB34F}"/>
                  </a:ext>
                </a:extLst>
              </p:cNvPr>
              <p:cNvSpPr txBox="1"/>
              <p:nvPr/>
            </p:nvSpPr>
            <p:spPr>
              <a:xfrm>
                <a:off x="15773400" y="6071917"/>
                <a:ext cx="4173682" cy="15683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kumimoji="0" lang="en-US" sz="43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</m:t>
                    </m:r>
                    <m:d>
                      <m:dPr>
                        <m:begChr m:val="{"/>
                        <m:endChr m:val=""/>
                        <m:ctrlPr>
                          <a:rPr kumimoji="0" lang="en-US" sz="43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𝟑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  <m:r>
                              <a:rPr kumimoji="0" lang="en-US" sz="43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kumimoji="0" lang="en-US" sz="4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dirty="0">
                  <a:latin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64040B4-B902-8A84-73CF-111F058BB3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73400" y="6071917"/>
                <a:ext cx="4173682" cy="156837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464741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11" grpId="0"/>
      <p:bldP spid="13" grpId="0"/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228600" y="1879601"/>
            <a:ext cx="237744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PHƯƠNG TRÌNH THAM SỐ CỦA ĐƯỜNG THẲN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8600" y="3048001"/>
                <a:ext cx="237744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â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iệ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ước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ời</a:t>
                </a:r>
                <a:r>
                  <a:rPr lang="en-US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endParaRPr lang="en-US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just">
                  <a:lnSpc>
                    <a:spcPct val="107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+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</m:oMath>
                </a14:m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07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+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07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do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+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eqArr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(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𝟐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𝒙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𝒚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+(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𝒚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𝟐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𝒚</m:t>
                                </m:r>
                              </m:e>
                              <m:sub>
                                <m:r>
                                  <a:rPr lang="en-US" b="1" i="1" smtClean="0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sub>
                            </m:s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Bef>
                    <a:spcPts val="0"/>
                  </a:spcBef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+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indent="0" algn="ctr">
                  <a:lnSpc>
                    <a:spcPct val="107000"/>
                  </a:lnSpc>
                  <a:spcAft>
                    <a:spcPts val="800"/>
                  </a:spcAft>
                  <a:buNone/>
                </a:pPr>
                <a14:m>
                  <m:oMath xmlns:m="http://schemas.openxmlformats.org/officeDocument/2006/math"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𝟏</m:t>
                            </m:r>
                          </m:sub>
                        </m:sSub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b>
                        </m:sSub>
                      </m:e>
                    </m:d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b="1" i="1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𝒚</m:t>
                                </m:r>
                              </m:e>
                              <m:sub>
                                <m:r>
                                  <a:rPr lang="en-US" b="1" i="1">
                                    <a:latin typeface="Cambria Math" panose="02040503050406030204" pitchFamily="18" charset="0"/>
                                    <a:ea typeface="Calibri" panose="020F0502020204030204" pitchFamily="34" charset="0"/>
                                    <a:cs typeface="Times New Roman" panose="02020603050405020304" pitchFamily="18" charset="0"/>
                                  </a:rPr>
                                  <m:t>𝟏</m:t>
                                </m:r>
                              </m:sub>
                            </m:sSub>
                          </m:e>
                          <m:sub>
                            <m:r>
                              <a:rPr lang="en-US" b="1" i="1" smtClean="0"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`</m:t>
                            </m:r>
                          </m:sub>
                        </m:sSub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endParaRPr lang="en-US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600" y="3048001"/>
                <a:ext cx="23774400" cy="10363199"/>
              </a:xfrm>
              <a:prstGeom prst="rect">
                <a:avLst/>
              </a:prstGeom>
              <a:blipFill>
                <a:blip r:embed="rId3"/>
                <a:stretch>
                  <a:fillRect l="-1153" t="-1469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1" name="Group 10"/>
          <p:cNvGrpSpPr/>
          <p:nvPr/>
        </p:nvGrpSpPr>
        <p:grpSpPr>
          <a:xfrm>
            <a:off x="152400" y="2992883"/>
            <a:ext cx="4234560" cy="885952"/>
            <a:chOff x="1219200" y="1858771"/>
            <a:chExt cx="4215122" cy="885952"/>
          </a:xfrm>
        </p:grpSpPr>
        <p:grpSp>
          <p:nvGrpSpPr>
            <p:cNvPr id="12" name="Group 11"/>
            <p:cNvGrpSpPr/>
            <p:nvPr/>
          </p:nvGrpSpPr>
          <p:grpSpPr>
            <a:xfrm>
              <a:off x="1219200" y="1858771"/>
              <a:ext cx="4215122" cy="885952"/>
              <a:chOff x="10025696" y="6694296"/>
              <a:chExt cx="4215122" cy="885952"/>
            </a:xfrm>
          </p:grpSpPr>
          <p:sp>
            <p:nvSpPr>
              <p:cNvPr id="14" name="Arrow: Pentagon 33"/>
              <p:cNvSpPr/>
              <p:nvPr/>
            </p:nvSpPr>
            <p:spPr>
              <a:xfrm>
                <a:off x="10429865" y="6752717"/>
                <a:ext cx="3810953" cy="80670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Arrow: Chevron 34"/>
              <p:cNvSpPr/>
              <p:nvPr/>
            </p:nvSpPr>
            <p:spPr>
              <a:xfrm>
                <a:off x="10025696" y="6773546"/>
                <a:ext cx="273620" cy="80670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6" name="TextBox 56"/>
              <p:cNvSpPr txBox="1"/>
              <p:nvPr/>
            </p:nvSpPr>
            <p:spPr>
              <a:xfrm>
                <a:off x="10354833" y="6694296"/>
                <a:ext cx="3885985" cy="865123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Luyện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sz="4800" b="1" kern="1200" dirty="0" err="1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tập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sz="4800" b="1" dirty="0">
                    <a:solidFill>
                      <a:srgbClr val="0000CC"/>
                    </a:solidFill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5</a:t>
                </a:r>
                <a:r>
                  <a:rPr lang="en-US" sz="4800" b="1" kern="1200" dirty="0">
                    <a:solidFill>
                      <a:srgbClr val="0000CC"/>
                    </a:solidFill>
                    <a:effectLst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.</a:t>
                </a:r>
                <a:endParaRPr lang="en-US" sz="4800" b="1" dirty="0"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3" name="Arrow: Chevron 35"/>
            <p:cNvSpPr/>
            <p:nvPr/>
          </p:nvSpPr>
          <p:spPr>
            <a:xfrm>
              <a:off x="1349749" y="1935480"/>
              <a:ext cx="296171" cy="806702"/>
            </a:xfrm>
            <a:prstGeom prst="chevron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234520984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CAE1B80-235C-FCB0-7C49-00665B98DC46}"/>
              </a:ext>
            </a:extLst>
          </p:cNvPr>
          <p:cNvGrpSpPr/>
          <p:nvPr/>
        </p:nvGrpSpPr>
        <p:grpSpPr>
          <a:xfrm>
            <a:off x="699203" y="5333997"/>
            <a:ext cx="23556178" cy="1234536"/>
            <a:chOff x="241306" y="2243792"/>
            <a:chExt cx="11778089" cy="617268"/>
          </a:xfrm>
          <a:solidFill>
            <a:srgbClr val="327E3B"/>
          </a:solidFill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/>
                <p:nvPr/>
              </p:nvSpPr>
              <p:spPr>
                <a:xfrm>
                  <a:off x="3538287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 </a:t>
                  </a: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38287" y="2243792"/>
                  <a:ext cx="2468235" cy="617268"/>
                </a:xfrm>
                <a:prstGeom prst="rect">
                  <a:avLst/>
                </a:prstGeom>
                <a:blipFill>
                  <a:blip r:embed="rId2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4C83E8D-93AF-AB77-60F0-B14EB14475A7}"/>
                </a:ext>
              </a:extLst>
            </p:cNvPr>
            <p:cNvSpPr/>
            <p:nvPr/>
          </p:nvSpPr>
          <p:spPr>
            <a:xfrm>
              <a:off x="3247742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/>
                <p:nvPr/>
              </p:nvSpPr>
              <p:spPr>
                <a:xfrm>
                  <a:off x="531851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d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51" y="2243792"/>
                  <a:ext cx="2468235" cy="617268"/>
                </a:xfrm>
                <a:prstGeom prst="rect">
                  <a:avLst/>
                </a:prstGeom>
                <a:blipFill>
                  <a:blip r:embed="rId3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D97137C-6FE4-7037-9E6D-24323F88C867}"/>
                </a:ext>
              </a:extLst>
            </p:cNvPr>
            <p:cNvSpPr/>
            <p:nvPr/>
          </p:nvSpPr>
          <p:spPr>
            <a:xfrm>
              <a:off x="241306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A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/>
                <p:nvPr/>
              </p:nvSpPr>
              <p:spPr>
                <a:xfrm>
                  <a:off x="6647108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47108" y="2243792"/>
                  <a:ext cx="2468235" cy="617268"/>
                </a:xfrm>
                <a:prstGeom prst="rect">
                  <a:avLst/>
                </a:prstGeom>
                <a:blipFill>
                  <a:blip r:embed="rId4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6C1D00A-EFB8-1843-305C-B459E52641DB}"/>
                </a:ext>
              </a:extLst>
            </p:cNvPr>
            <p:cNvSpPr/>
            <p:nvPr/>
          </p:nvSpPr>
          <p:spPr>
            <a:xfrm>
              <a:off x="6254178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/>
                <p:nvPr/>
              </p:nvSpPr>
              <p:spPr>
                <a:xfrm>
                  <a:off x="9551160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𝒏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51160" y="2243792"/>
                  <a:ext cx="2468235" cy="617268"/>
                </a:xfrm>
                <a:prstGeom prst="rect">
                  <a:avLst/>
                </a:prstGeom>
                <a:blipFill>
                  <a:blip r:embed="rId5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11A7FA-8488-F918-906D-7310A1E0F367}"/>
                </a:ext>
              </a:extLst>
            </p:cNvPr>
            <p:cNvSpPr/>
            <p:nvPr/>
          </p:nvSpPr>
          <p:spPr>
            <a:xfrm>
              <a:off x="9260615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5D913EC-0752-FE03-22AC-1A64D3990366}"/>
              </a:ext>
            </a:extLst>
          </p:cNvPr>
          <p:cNvSpPr/>
          <p:nvPr/>
        </p:nvSpPr>
        <p:spPr>
          <a:xfrm>
            <a:off x="699203" y="5493636"/>
            <a:ext cx="1080000" cy="1080000"/>
          </a:xfrm>
          <a:prstGeom prst="ellipse">
            <a:avLst/>
          </a:prstGeom>
          <a:solidFill>
            <a:srgbClr val="FF0000"/>
          </a:soli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220060" y="2819400"/>
            <a:ext cx="23283729" cy="2402474"/>
            <a:chOff x="923003" y="3917552"/>
            <a:chExt cx="23283729" cy="2402473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402146" y="4427864"/>
              <a:ext cx="22804586" cy="1892161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8002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1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6076" y="1800653"/>
            <a:ext cx="19656044" cy="830997"/>
            <a:chOff x="-288924" y="1892299"/>
            <a:chExt cx="19659599" cy="830996"/>
          </a:xfrm>
        </p:grpSpPr>
        <p:sp>
          <p:nvSpPr>
            <p:cNvPr id="20" name="Rounded Rectangle 2">
              <a:extLst>
                <a:ext uri="{FF2B5EF4-FFF2-40B4-BE49-F238E27FC236}">
                  <a16:creationId xmlns:a16="http://schemas.microsoft.com/office/drawing/2014/main" id="{74FE6275-B7E9-DAD2-3AE0-482A0C6BEA12}"/>
                </a:ext>
              </a:extLst>
            </p:cNvPr>
            <p:cNvSpPr/>
            <p:nvPr/>
          </p:nvSpPr>
          <p:spPr>
            <a:xfrm>
              <a:off x="-288924" y="1905000"/>
              <a:ext cx="2362200" cy="804672"/>
            </a:xfrm>
            <a:prstGeom prst="roundRect">
              <a:avLst/>
            </a:prstGeom>
            <a:solidFill>
              <a:srgbClr val="145F82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17283113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Phiếu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học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tập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914847" y="3505428"/>
                <a:ext cx="23304511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​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𝒙𝒚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</m:d>
                    <m:r>
                      <a:rPr lang="en-US" sz="4400" b="1" i="1">
                        <a:latin typeface="Cambria Math" panose="02040503050406030204" pitchFamily="18" charset="0"/>
                      </a:rPr>
                      <m:t>: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u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â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847" y="3505428"/>
                <a:ext cx="23304511" cy="1446550"/>
              </a:xfrm>
              <a:prstGeom prst="rect">
                <a:avLst/>
              </a:prstGeom>
              <a:blipFill>
                <a:blip r:embed="rId7"/>
                <a:stretch>
                  <a:fillRect l="-1046" t="-8861" b="-189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7711"/>
            <a:ext cx="23862374" cy="5716250"/>
            <a:chOff x="48567" y="4381499"/>
            <a:chExt cx="23018772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682027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E67763E-6CAA-4BD1-433D-E7474479ED46}"/>
              </a:ext>
            </a:extLst>
          </p:cNvPr>
          <p:cNvSpPr txBox="1"/>
          <p:nvPr/>
        </p:nvSpPr>
        <p:spPr>
          <a:xfrm>
            <a:off x="2776428" y="9070248"/>
            <a:ext cx="188914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</a:t>
            </a:r>
          </a:p>
        </p:txBody>
      </p:sp>
    </p:spTree>
    <p:extLst>
      <p:ext uri="{BB962C8B-B14F-4D97-AF65-F5344CB8AC3E}">
        <p14:creationId xmlns:p14="http://schemas.microsoft.com/office/powerpoint/2010/main" val="11490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42A219C-34B7-7E4B-FD25-5DC77F89C76D}"/>
                  </a:ext>
                </a:extLst>
              </p:cNvPr>
              <p:cNvSpPr txBox="1"/>
              <p:nvPr/>
            </p:nvSpPr>
            <p:spPr>
              <a:xfrm>
                <a:off x="255780" y="1981200"/>
                <a:ext cx="17498820" cy="4154984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just"/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ất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â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eo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hiê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ằm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a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s-ES" sz="4400" b="1" i="1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</m:ctrlPr>
                      </m:sSupPr>
                      <m:e>
                        <m:r>
                          <a:rPr lang="en-US" sz="4400" b="1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𝟐𝟎</m:t>
                        </m:r>
                      </m:e>
                      <m:sup>
                        <m:r>
                          <a:rPr lang="en-US" sz="4400" b="1" i="0" smtClean="0">
                            <a:latin typeface="Cambria Math" panose="02040503050406030204" pitchFamily="18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ốc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ất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𝟐𝟎𝟎𝐤𝐦</m:t>
                    </m:r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/</m:t>
                    </m:r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𝐡</m:t>
                    </m:r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i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oạ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ả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à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-đa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ộ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ậ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ô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ưu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algn="just"/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í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y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ữ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ọ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ẳng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s-E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ạn</a:t>
                </a:r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𝟐𝟎𝐬</m:t>
                    </m:r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𝟔</m:t>
                    </m:r>
                    <m:r>
                      <a:rPr lang="en-US" sz="4400" b="1" i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𝟎𝐬</m:t>
                    </m:r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𝟗</m:t>
                    </m:r>
                    <m:r>
                      <a:rPr lang="en-US" sz="4400" b="1" i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𝟎𝐬</m:t>
                    </m:r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𝟏</m:t>
                    </m:r>
                    <m:r>
                      <a:rPr lang="en-US" sz="4400" b="1" i="0">
                        <a:latin typeface="Cambria Math" panose="02040503050406030204" pitchFamily="18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m:t>𝟐𝟎𝐬</m:t>
                    </m:r>
                  </m:oMath>
                </a14:m>
                <a:r>
                  <a:rPr lang="es-E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.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842A219C-34B7-7E4B-FD25-5DC77F89C7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780" y="1981200"/>
                <a:ext cx="17498820" cy="4154984"/>
              </a:xfrm>
              <a:prstGeom prst="rect">
                <a:avLst/>
              </a:prstGeom>
              <a:blipFill>
                <a:blip r:embed="rId2"/>
                <a:stretch>
                  <a:fillRect l="-1428" t="-2928" r="-1323" b="-57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2417B110-C188-4433-B19C-8C83340F4DD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7286" y="7086600"/>
            <a:ext cx="12208635" cy="3957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08;p1" descr="A picture containing text, green&#10;&#10;Description automatically generated">
            <a:extLst>
              <a:ext uri="{FF2B5EF4-FFF2-40B4-BE49-F238E27FC236}">
                <a16:creationId xmlns:a16="http://schemas.microsoft.com/office/drawing/2014/main" id="{78C08024-0460-4B41-8BA5-FFA7AEB1A2BE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071106" y="7315200"/>
            <a:ext cx="3674235" cy="3729040"/>
          </a:xfrm>
          <a:prstGeom prst="ellipse">
            <a:avLst/>
          </a:prstGeom>
          <a:noFill/>
          <a:ln>
            <a:noFill/>
          </a:ln>
        </p:spPr>
      </p:pic>
      <p:grpSp>
        <p:nvGrpSpPr>
          <p:cNvPr id="10" name="Group 320">
            <a:extLst>
              <a:ext uri="{FF2B5EF4-FFF2-40B4-BE49-F238E27FC236}">
                <a16:creationId xmlns:a16="http://schemas.microsoft.com/office/drawing/2014/main" id="{1E4CA95F-9EF3-46EE-8D50-551D536E4B30}"/>
              </a:ext>
            </a:extLst>
          </p:cNvPr>
          <p:cNvGrpSpPr>
            <a:grpSpLocks/>
          </p:cNvGrpSpPr>
          <p:nvPr/>
        </p:nvGrpSpPr>
        <p:grpSpPr bwMode="auto">
          <a:xfrm>
            <a:off x="255779" y="1981200"/>
            <a:ext cx="5470519" cy="800490"/>
            <a:chOff x="0" y="746"/>
            <a:chExt cx="28934" cy="2256"/>
          </a:xfrm>
        </p:grpSpPr>
        <p:sp>
          <p:nvSpPr>
            <p:cNvPr id="11" name="TextBox 321">
              <a:extLst>
                <a:ext uri="{FF2B5EF4-FFF2-40B4-BE49-F238E27FC236}">
                  <a16:creationId xmlns:a16="http://schemas.microsoft.com/office/drawing/2014/main" id="{A7B2F007-1C59-454B-87C0-B2E26C6EE3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4" y="746"/>
              <a:ext cx="21680" cy="2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4400" b="1" dirty="0" err="1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ở</a:t>
              </a:r>
              <a:r>
                <a:rPr lang="en-US" altLang="en-US" sz="44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altLang="en-US" sz="4400" b="1" dirty="0" err="1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đầu</a:t>
              </a:r>
              <a:r>
                <a:rPr lang="en-US" altLang="en-US" sz="44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</a:t>
              </a:r>
              <a:endParaRPr kumimoji="0" lang="en-US" altLang="en-US" sz="44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" name="Group 58">
              <a:extLst>
                <a:ext uri="{FF2B5EF4-FFF2-40B4-BE49-F238E27FC236}">
                  <a16:creationId xmlns:a16="http://schemas.microsoft.com/office/drawing/2014/main" id="{03B9B9D8-F623-4190-B9E9-A6A031B61FA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923"/>
              <a:ext cx="6270" cy="1976"/>
              <a:chOff x="0" y="923"/>
              <a:chExt cx="5754" cy="1976"/>
            </a:xfrm>
          </p:grpSpPr>
          <p:grpSp>
            <p:nvGrpSpPr>
              <p:cNvPr id="14" name="Group 59">
                <a:extLst>
                  <a:ext uri="{FF2B5EF4-FFF2-40B4-BE49-F238E27FC236}">
                    <a16:creationId xmlns:a16="http://schemas.microsoft.com/office/drawing/2014/main" id="{535C1EA5-3239-4048-922A-278927C992D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0" y="923"/>
                <a:ext cx="5754" cy="1976"/>
                <a:chOff x="0" y="923"/>
                <a:chExt cx="6444" cy="3028"/>
              </a:xfrm>
            </p:grpSpPr>
            <p:sp>
              <p:nvSpPr>
                <p:cNvPr id="17" name="Arrow: Pentagon 60">
                  <a:extLst>
                    <a:ext uri="{FF2B5EF4-FFF2-40B4-BE49-F238E27FC236}">
                      <a16:creationId xmlns:a16="http://schemas.microsoft.com/office/drawing/2014/main" id="{DBB46715-BE98-4098-99BC-33D7323285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0" y="1038"/>
                  <a:ext cx="4206" cy="2913"/>
                </a:xfrm>
                <a:prstGeom prst="homePlate">
                  <a:avLst>
                    <a:gd name="adj" fmla="val 50001"/>
                  </a:avLst>
                </a:prstGeom>
                <a:solidFill>
                  <a:srgbClr val="B7DE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254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 sz="44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18" name="Arrow: Chevron 61">
                  <a:extLst>
                    <a:ext uri="{FF2B5EF4-FFF2-40B4-BE49-F238E27FC236}">
                      <a16:creationId xmlns:a16="http://schemas.microsoft.com/office/drawing/2014/main" id="{D5E44D58-97FC-4EA0-B4E2-DFC4DD13E0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02" y="923"/>
                  <a:ext cx="1695" cy="2916"/>
                </a:xfrm>
                <a:prstGeom prst="chevron">
                  <a:avLst>
                    <a:gd name="adj" fmla="val 83505"/>
                  </a:avLst>
                </a:prstGeom>
                <a:solidFill>
                  <a:srgbClr val="CCC1DA"/>
                </a:solidFill>
                <a:ln w="25400">
                  <a:solidFill>
                    <a:srgbClr val="FFC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 sz="44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19" name="Arrow: Chevron 62">
                  <a:extLst>
                    <a:ext uri="{FF2B5EF4-FFF2-40B4-BE49-F238E27FC236}">
                      <a16:creationId xmlns:a16="http://schemas.microsoft.com/office/drawing/2014/main" id="{925A6438-F04D-4733-A035-25B3B49EFA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9" y="923"/>
                  <a:ext cx="1695" cy="2916"/>
                </a:xfrm>
                <a:prstGeom prst="chevron">
                  <a:avLst>
                    <a:gd name="adj" fmla="val 83505"/>
                  </a:avLst>
                </a:prstGeom>
                <a:solidFill>
                  <a:srgbClr val="0000CC"/>
                </a:solidFill>
                <a:ln w="25400">
                  <a:solidFill>
                    <a:srgbClr val="FFFF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US" sz="44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p:grpSp>
          <p:sp>
            <p:nvSpPr>
              <p:cNvPr id="15" name="Flowchart: Terminator 63">
                <a:extLst>
                  <a:ext uri="{FF2B5EF4-FFF2-40B4-BE49-F238E27FC236}">
                    <a16:creationId xmlns:a16="http://schemas.microsoft.com/office/drawing/2014/main" id="{0D53D3ED-851B-4466-9CB8-0E9B60930E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3" y="1376"/>
                <a:ext cx="2537" cy="1158"/>
              </a:xfrm>
              <a:prstGeom prst="flowChartTerminator">
                <a:avLst/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44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6" name="Oval 64">
                <a:extLst>
                  <a:ext uri="{FF2B5EF4-FFF2-40B4-BE49-F238E27FC236}">
                    <a16:creationId xmlns:a16="http://schemas.microsoft.com/office/drawing/2014/main" id="{294FEC71-2558-466D-8BFC-99BF0719D5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6" y="1427"/>
                <a:ext cx="924" cy="954"/>
              </a:xfrm>
              <a:prstGeom prst="ellipse">
                <a:avLst/>
              </a:prstGeom>
              <a:solidFill>
                <a:srgbClr val="333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44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pic>
        <p:nvPicPr>
          <p:cNvPr id="21" name="Google Shape;127;p2">
            <a:extLst>
              <a:ext uri="{FF2B5EF4-FFF2-40B4-BE49-F238E27FC236}">
                <a16:creationId xmlns:a16="http://schemas.microsoft.com/office/drawing/2014/main" id="{1E53A763-BBDA-4793-9107-1532D31499D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8377105" y="1922355"/>
            <a:ext cx="4800600" cy="48629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Google Shape;134;p2">
            <a:extLst>
              <a:ext uri="{FF2B5EF4-FFF2-40B4-BE49-F238E27FC236}">
                <a16:creationId xmlns:a16="http://schemas.microsoft.com/office/drawing/2014/main" id="{97DA6695-05EF-4031-8699-88986C62DB15}"/>
              </a:ext>
            </a:extLst>
          </p:cNvPr>
          <p:cNvCxnSpPr>
            <a:cxnSpLocks/>
          </p:cNvCxnSpPr>
          <p:nvPr/>
        </p:nvCxnSpPr>
        <p:spPr>
          <a:xfrm flipV="1">
            <a:off x="20917006" y="3797058"/>
            <a:ext cx="2189095" cy="539919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23" name="Google Shape;135;p2">
            <a:extLst>
              <a:ext uri="{FF2B5EF4-FFF2-40B4-BE49-F238E27FC236}">
                <a16:creationId xmlns:a16="http://schemas.microsoft.com/office/drawing/2014/main" id="{549F625B-2972-4D71-AFCA-F7FCC7FC49D7}"/>
              </a:ext>
            </a:extLst>
          </p:cNvPr>
          <p:cNvSpPr/>
          <p:nvPr/>
        </p:nvSpPr>
        <p:spPr>
          <a:xfrm>
            <a:off x="20426599" y="4378585"/>
            <a:ext cx="350806" cy="494684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O</a:t>
            </a:r>
            <a:endParaRPr dirty="0"/>
          </a:p>
        </p:txBody>
      </p:sp>
      <p:sp>
        <p:nvSpPr>
          <p:cNvPr id="24" name="Google Shape;136;p2">
            <a:extLst>
              <a:ext uri="{FF2B5EF4-FFF2-40B4-BE49-F238E27FC236}">
                <a16:creationId xmlns:a16="http://schemas.microsoft.com/office/drawing/2014/main" id="{2A499DD9-0E46-4835-9C70-1DD81B04CDA0}"/>
              </a:ext>
            </a:extLst>
          </p:cNvPr>
          <p:cNvSpPr/>
          <p:nvPr/>
        </p:nvSpPr>
        <p:spPr>
          <a:xfrm>
            <a:off x="22725435" y="3319905"/>
            <a:ext cx="350806" cy="494684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</a:t>
            </a:r>
            <a:endParaRPr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10547E-1A35-470E-8EF8-5193A748A0EA}"/>
              </a:ext>
            </a:extLst>
          </p:cNvPr>
          <p:cNvSpPr txBox="1"/>
          <p:nvPr/>
        </p:nvSpPr>
        <p:spPr>
          <a:xfrm>
            <a:off x="268220" y="7326482"/>
            <a:ext cx="10459267" cy="347787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ậy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ể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ác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ịn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ược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ị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í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ủ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áy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y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gười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ải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ập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ương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ình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ường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ẳng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ô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ả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ường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y.Vậy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àm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ế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ào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ó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ể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ô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ả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ược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ường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y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ủa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áy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E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y</a:t>
            </a:r>
            <a:r>
              <a:rPr lang="es-E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4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433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3" grpId="0"/>
      <p:bldP spid="24" grpId="0"/>
      <p:bldP spid="2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CAE1B80-235C-FCB0-7C49-00665B98DC46}"/>
              </a:ext>
            </a:extLst>
          </p:cNvPr>
          <p:cNvGrpSpPr/>
          <p:nvPr/>
        </p:nvGrpSpPr>
        <p:grpSpPr>
          <a:xfrm>
            <a:off x="699203" y="5333997"/>
            <a:ext cx="23556178" cy="1234536"/>
            <a:chOff x="241306" y="2243792"/>
            <a:chExt cx="11778089" cy="617268"/>
          </a:xfrm>
          <a:solidFill>
            <a:srgbClr val="327E3B"/>
          </a:solidFill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/>
                <p:nvPr/>
              </p:nvSpPr>
              <p:spPr>
                <a:xfrm>
                  <a:off x="3538287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38287" y="2243792"/>
                  <a:ext cx="2468235" cy="617268"/>
                </a:xfrm>
                <a:prstGeom prst="rect">
                  <a:avLst/>
                </a:prstGeom>
                <a:blipFill>
                  <a:blip r:embed="rId2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4C83E8D-93AF-AB77-60F0-B14EB14475A7}"/>
                </a:ext>
              </a:extLst>
            </p:cNvPr>
            <p:cNvSpPr/>
            <p:nvPr/>
          </p:nvSpPr>
          <p:spPr>
            <a:xfrm>
              <a:off x="3247742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/>
                <p:nvPr/>
              </p:nvSpPr>
              <p:spPr>
                <a:xfrm>
                  <a:off x="531851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1851" y="2243792"/>
                  <a:ext cx="2468235" cy="617268"/>
                </a:xfrm>
                <a:prstGeom prst="rect">
                  <a:avLst/>
                </a:prstGeom>
                <a:blipFill>
                  <a:blip r:embed="rId3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D97137C-6FE4-7037-9E6D-24323F88C867}"/>
                </a:ext>
              </a:extLst>
            </p:cNvPr>
            <p:cNvSpPr/>
            <p:nvPr/>
          </p:nvSpPr>
          <p:spPr>
            <a:xfrm>
              <a:off x="241306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A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/>
                <p:nvPr/>
              </p:nvSpPr>
              <p:spPr>
                <a:xfrm>
                  <a:off x="6647108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𝟒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47108" y="2243792"/>
                  <a:ext cx="2468235" cy="617268"/>
                </a:xfrm>
                <a:prstGeom prst="rect">
                  <a:avLst/>
                </a:prstGeom>
                <a:blipFill>
                  <a:blip r:embed="rId4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6C1D00A-EFB8-1843-305C-B459E52641DB}"/>
                </a:ext>
              </a:extLst>
            </p:cNvPr>
            <p:cNvSpPr/>
            <p:nvPr/>
          </p:nvSpPr>
          <p:spPr>
            <a:xfrm>
              <a:off x="6254178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/>
                <p:nvPr/>
              </p:nvSpPr>
              <p:spPr>
                <a:xfrm>
                  <a:off x="9551160" y="2243792"/>
                  <a:ext cx="246823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𝒖</m:t>
                          </m:r>
                        </m:e>
                      </m:acc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51160" y="2243792"/>
                  <a:ext cx="2468235" cy="617268"/>
                </a:xfrm>
                <a:prstGeom prst="rect">
                  <a:avLst/>
                </a:prstGeom>
                <a:blipFill>
                  <a:blip r:embed="rId5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11A7FA-8488-F918-906D-7310A1E0F367}"/>
                </a:ext>
              </a:extLst>
            </p:cNvPr>
            <p:cNvSpPr/>
            <p:nvPr/>
          </p:nvSpPr>
          <p:spPr>
            <a:xfrm>
              <a:off x="9260615" y="2303047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5D913EC-0752-FE03-22AC-1A64D3990366}"/>
              </a:ext>
            </a:extLst>
          </p:cNvPr>
          <p:cNvSpPr/>
          <p:nvPr/>
        </p:nvSpPr>
        <p:spPr>
          <a:xfrm>
            <a:off x="699203" y="5493636"/>
            <a:ext cx="1080000" cy="1080000"/>
          </a:xfrm>
          <a:prstGeom prst="ellipse">
            <a:avLst/>
          </a:prstGeom>
          <a:solidFill>
            <a:srgbClr val="FF0000"/>
          </a:soli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220060" y="2517802"/>
            <a:ext cx="23943880" cy="2703066"/>
            <a:chOff x="923003" y="3917552"/>
            <a:chExt cx="23943880" cy="2401466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426857"/>
              <a:ext cx="23594672" cy="1892161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8002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r>
                    <a:rPr lang="en-US" sz="4600" b="1" dirty="0">
                      <a:solidFill>
                        <a:prstClr val="black"/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2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6076" y="1800653"/>
            <a:ext cx="19656044" cy="830997"/>
            <a:chOff x="-288924" y="1892299"/>
            <a:chExt cx="19659599" cy="830996"/>
          </a:xfrm>
        </p:grpSpPr>
        <p:sp>
          <p:nvSpPr>
            <p:cNvPr id="20" name="Rounded Rectangle 2">
              <a:extLst>
                <a:ext uri="{FF2B5EF4-FFF2-40B4-BE49-F238E27FC236}">
                  <a16:creationId xmlns:a16="http://schemas.microsoft.com/office/drawing/2014/main" id="{74FE6275-B7E9-DAD2-3AE0-482A0C6BEA12}"/>
                </a:ext>
              </a:extLst>
            </p:cNvPr>
            <p:cNvSpPr/>
            <p:nvPr/>
          </p:nvSpPr>
          <p:spPr>
            <a:xfrm>
              <a:off x="-288924" y="1905000"/>
              <a:ext cx="2362200" cy="804672"/>
            </a:xfrm>
            <a:prstGeom prst="roundRect">
              <a:avLst/>
            </a:prstGeom>
            <a:solidFill>
              <a:srgbClr val="145F82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17283113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Phiếu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học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tập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220060" y="3034008"/>
                <a:ext cx="23304511" cy="227979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𝑶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​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𝒙𝒚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</m:d>
                    <m:r>
                      <a:rPr lang="en-US" sz="4400" b="1" i="1">
                        <a:latin typeface="Cambria Math" panose="02040503050406030204" pitchFamily="18" charset="0"/>
                      </a:rPr>
                      <m:t>:</m:t>
                    </m:r>
                    <m:d>
                      <m:dPr>
                        <m:begChr m:val="{"/>
                        <m:endChr m:val="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&amp;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𝒙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𝟒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&amp;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𝒚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=−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𝟑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u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â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𝒅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?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0060" y="3034008"/>
                <a:ext cx="23304511" cy="2279791"/>
              </a:xfrm>
              <a:prstGeom prst="rect">
                <a:avLst/>
              </a:prstGeom>
              <a:blipFill>
                <a:blip r:embed="rId7"/>
                <a:stretch>
                  <a:fillRect l="-1046" b="-114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7711"/>
            <a:ext cx="23862374" cy="5716250"/>
            <a:chOff x="48567" y="4381499"/>
            <a:chExt cx="23018772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682027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E67763E-6CAA-4BD1-433D-E7474479ED46}"/>
              </a:ext>
            </a:extLst>
          </p:cNvPr>
          <p:cNvSpPr txBox="1"/>
          <p:nvPr/>
        </p:nvSpPr>
        <p:spPr>
          <a:xfrm>
            <a:off x="2776428" y="9070248"/>
            <a:ext cx="188914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</a:t>
            </a:r>
          </a:p>
        </p:txBody>
      </p:sp>
    </p:spTree>
    <p:extLst>
      <p:ext uri="{BB962C8B-B14F-4D97-AF65-F5344CB8AC3E}">
        <p14:creationId xmlns:p14="http://schemas.microsoft.com/office/powerpoint/2010/main" val="4241044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CAE1B80-235C-FCB0-7C49-00665B98DC46}"/>
              </a:ext>
            </a:extLst>
          </p:cNvPr>
          <p:cNvGrpSpPr/>
          <p:nvPr/>
        </p:nvGrpSpPr>
        <p:grpSpPr>
          <a:xfrm>
            <a:off x="127345" y="5320182"/>
            <a:ext cx="24260134" cy="1273806"/>
            <a:chOff x="824" y="2234521"/>
            <a:chExt cx="12130067" cy="636903"/>
          </a:xfrm>
          <a:solidFill>
            <a:srgbClr val="327E3B"/>
          </a:solidFill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/>
                <p:nvPr/>
              </p:nvSpPr>
              <p:spPr>
                <a:xfrm>
                  <a:off x="3577303" y="2241696"/>
                  <a:ext cx="2333845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𝟏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77303" y="2241696"/>
                  <a:ext cx="2333845" cy="617268"/>
                </a:xfrm>
                <a:prstGeom prst="rect">
                  <a:avLst/>
                </a:prstGeom>
                <a:blipFill>
                  <a:blip r:embed="rId2"/>
                  <a:stretch>
                    <a:fillRect r="-2067"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4C83E8D-93AF-AB77-60F0-B14EB14475A7}"/>
                </a:ext>
              </a:extLst>
            </p:cNvPr>
            <p:cNvSpPr/>
            <p:nvPr/>
          </p:nvSpPr>
          <p:spPr>
            <a:xfrm>
              <a:off x="3123015" y="2281389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/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𝟏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blipFill>
                  <a:blip r:embed="rId3"/>
                  <a:stretch>
                    <a:fillRect r="-2829" b="-2381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D97137C-6FE4-7037-9E6D-24323F88C867}"/>
                </a:ext>
              </a:extLst>
            </p:cNvPr>
            <p:cNvSpPr/>
            <p:nvPr/>
          </p:nvSpPr>
          <p:spPr>
            <a:xfrm>
              <a:off x="824" y="2273765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A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/>
                <p:nvPr/>
              </p:nvSpPr>
              <p:spPr>
                <a:xfrm>
                  <a:off x="6423131" y="2254156"/>
                  <a:ext cx="2625158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𝟏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423131" y="2254156"/>
                  <a:ext cx="2625158" cy="617268"/>
                </a:xfrm>
                <a:prstGeom prst="rect">
                  <a:avLst/>
                </a:prstGeom>
                <a:blipFill>
                  <a:blip r:embed="rId4"/>
                  <a:stretch>
                    <a:fillRect r="-3337"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6C1D00A-EFB8-1843-305C-B459E52641DB}"/>
                </a:ext>
              </a:extLst>
            </p:cNvPr>
            <p:cNvSpPr/>
            <p:nvPr/>
          </p:nvSpPr>
          <p:spPr>
            <a:xfrm>
              <a:off x="6015240" y="229279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/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𝒙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𝒚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𝟎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𝟎</m:t>
                        </m:r>
                      </m:oMath>
                    </m:oMathPara>
                  </a14:m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11A7FA-8488-F918-906D-7310A1E0F367}"/>
                </a:ext>
              </a:extLst>
            </p:cNvPr>
            <p:cNvSpPr/>
            <p:nvPr/>
          </p:nvSpPr>
          <p:spPr>
            <a:xfrm>
              <a:off x="9136105" y="228033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5D913EC-0752-FE03-22AC-1A64D3990366}"/>
              </a:ext>
            </a:extLst>
          </p:cNvPr>
          <p:cNvSpPr/>
          <p:nvPr/>
        </p:nvSpPr>
        <p:spPr>
          <a:xfrm>
            <a:off x="76200" y="5400083"/>
            <a:ext cx="1080000" cy="1080000"/>
          </a:xfrm>
          <a:prstGeom prst="ellipse">
            <a:avLst/>
          </a:prstGeom>
          <a:solidFill>
            <a:srgbClr val="FF0000"/>
          </a:soli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220060" y="2517802"/>
            <a:ext cx="23943880" cy="2703066"/>
            <a:chOff x="923003" y="3917552"/>
            <a:chExt cx="23943880" cy="2401466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426857"/>
              <a:ext cx="23594672" cy="1892161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7109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3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6076" y="1800653"/>
            <a:ext cx="19656044" cy="830997"/>
            <a:chOff x="-288924" y="1892299"/>
            <a:chExt cx="19659599" cy="830996"/>
          </a:xfrm>
        </p:grpSpPr>
        <p:sp>
          <p:nvSpPr>
            <p:cNvPr id="20" name="Rounded Rectangle 2">
              <a:extLst>
                <a:ext uri="{FF2B5EF4-FFF2-40B4-BE49-F238E27FC236}">
                  <a16:creationId xmlns:a16="http://schemas.microsoft.com/office/drawing/2014/main" id="{74FE6275-B7E9-DAD2-3AE0-482A0C6BEA12}"/>
                </a:ext>
              </a:extLst>
            </p:cNvPr>
            <p:cNvSpPr/>
            <p:nvPr/>
          </p:nvSpPr>
          <p:spPr>
            <a:xfrm>
              <a:off x="-288924" y="1905000"/>
              <a:ext cx="2362200" cy="804672"/>
            </a:xfrm>
            <a:prstGeom prst="roundRect">
              <a:avLst/>
            </a:prstGeom>
            <a:solidFill>
              <a:srgbClr val="145F82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17283113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Phiếu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học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tập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690219" y="3315461"/>
                <a:ext cx="23304511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</a:t>
                </a:r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 mặt phẳng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𝑶𝒙𝒚</m:t>
                    </m:r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đường thẳng đi qua điểm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và nhận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m vectơ pháp tuyến có phương trình tổng quát là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0219" y="3315461"/>
                <a:ext cx="23304511" cy="1446550"/>
              </a:xfrm>
              <a:prstGeom prst="rect">
                <a:avLst/>
              </a:prstGeom>
              <a:blipFill>
                <a:blip r:embed="rId7"/>
                <a:stretch>
                  <a:fillRect t="-9283" b="-189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7711"/>
            <a:ext cx="23862374" cy="5716250"/>
            <a:chOff x="48567" y="4381499"/>
            <a:chExt cx="23018772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682027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/>
              <p:nvPr/>
            </p:nvSpPr>
            <p:spPr>
              <a:xfrm>
                <a:off x="2776428" y="9070248"/>
                <a:ext cx="18891412" cy="15696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</a:t>
                </a:r>
                <a:r>
                  <a:rPr lang="vi-VN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ường thẳng đi qua điểm </a:t>
                </a:r>
                <a14:m>
                  <m:oMath xmlns:m="http://schemas.openxmlformats.org/officeDocument/2006/math">
                    <m:r>
                      <a:rPr lang="en-US" sz="4800" b="1" i="1"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lang="en-US" sz="48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vi-VN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và nhận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8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vi-VN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m vectơ pháp tuyến có phương trình tổng quát là </a:t>
                </a:r>
                <a:endParaRPr lang="en-US" sz="48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76428" y="9070248"/>
                <a:ext cx="18891412" cy="1569660"/>
              </a:xfrm>
              <a:prstGeom prst="rect">
                <a:avLst/>
              </a:prstGeom>
              <a:blipFill>
                <a:blip r:embed="rId9"/>
                <a:stretch>
                  <a:fillRect l="-1452" t="-9339" b="-198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/>
              <p:nvPr/>
            </p:nvSpPr>
            <p:spPr>
              <a:xfrm>
                <a:off x="5250240" y="10784465"/>
                <a:ext cx="12972035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𝟑</m:t>
                    </m:r>
                    <m:d>
                      <m:dPr>
                        <m:ctrlPr>
                          <a:rPr lang="en-US" sz="4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𝟐</m:t>
                    </m:r>
                    <m:d>
                      <m:dPr>
                        <m:ctrlPr>
                          <a:rPr lang="en-US" sz="4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𝒚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⇔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𝟏𝟎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0240" y="10784465"/>
                <a:ext cx="12972035" cy="830997"/>
              </a:xfrm>
              <a:prstGeom prst="rect">
                <a:avLst/>
              </a:prstGeom>
              <a:blipFill>
                <a:blip r:embed="rId10"/>
                <a:stretch>
                  <a:fillRect t="-17647" r="-940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>
            <a:extLst>
              <a:ext uri="{FF2B5EF4-FFF2-40B4-BE49-F238E27FC236}">
                <a16:creationId xmlns:a16="http://schemas.microsoft.com/office/drawing/2014/main" id="{939B0D0B-AF70-467C-95F4-2DAA3C2105B5}"/>
              </a:ext>
            </a:extLst>
          </p:cNvPr>
          <p:cNvSpPr txBox="1"/>
          <p:nvPr/>
        </p:nvSpPr>
        <p:spPr>
          <a:xfrm>
            <a:off x="-2203037" y="11873213"/>
            <a:ext cx="118445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.</a:t>
            </a:r>
          </a:p>
        </p:txBody>
      </p:sp>
    </p:spTree>
    <p:extLst>
      <p:ext uri="{BB962C8B-B14F-4D97-AF65-F5344CB8AC3E}">
        <p14:creationId xmlns:p14="http://schemas.microsoft.com/office/powerpoint/2010/main" val="207666511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1" grpId="0"/>
      <p:bldP spid="36" grpId="0"/>
      <p:bldP spid="3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CAE1B80-235C-FCB0-7C49-00665B98DC46}"/>
              </a:ext>
            </a:extLst>
          </p:cNvPr>
          <p:cNvGrpSpPr/>
          <p:nvPr/>
        </p:nvGrpSpPr>
        <p:grpSpPr>
          <a:xfrm>
            <a:off x="63672" y="5320657"/>
            <a:ext cx="24256655" cy="1273806"/>
            <a:chOff x="824" y="2234521"/>
            <a:chExt cx="12130067" cy="636903"/>
          </a:xfrm>
          <a:solidFill>
            <a:srgbClr val="327E3B"/>
          </a:solidFill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/>
                <p:nvPr/>
              </p:nvSpPr>
              <p:spPr>
                <a:xfrm>
                  <a:off x="3522191" y="2241696"/>
                  <a:ext cx="2472824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2191" y="2241696"/>
                  <a:ext cx="2472824" cy="617268"/>
                </a:xfrm>
                <a:prstGeom prst="rect">
                  <a:avLst/>
                </a:prstGeom>
                <a:blipFill>
                  <a:blip r:embed="rId2"/>
                  <a:stretch>
                    <a:fillRect r="-2442"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4C83E8D-93AF-AB77-60F0-B14EB14475A7}"/>
                </a:ext>
              </a:extLst>
            </p:cNvPr>
            <p:cNvSpPr/>
            <p:nvPr/>
          </p:nvSpPr>
          <p:spPr>
            <a:xfrm>
              <a:off x="3048595" y="228033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/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𝟏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blipFill>
                  <a:blip r:embed="rId3"/>
                  <a:stretch>
                    <a:fillRect r="-2826" b="-2381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D97137C-6FE4-7037-9E6D-24323F88C867}"/>
                </a:ext>
              </a:extLst>
            </p:cNvPr>
            <p:cNvSpPr/>
            <p:nvPr/>
          </p:nvSpPr>
          <p:spPr>
            <a:xfrm>
              <a:off x="824" y="2273765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A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/>
                <p:nvPr/>
              </p:nvSpPr>
              <p:spPr>
                <a:xfrm>
                  <a:off x="6505943" y="2254156"/>
                  <a:ext cx="2493049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𝟑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𝟖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</m:oMath>
                  </a14:m>
                  <a:r>
                    <a:rPr lang="en-US" sz="4400" b="1" dirty="0"/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05943" y="2254156"/>
                  <a:ext cx="2493049" cy="617268"/>
                </a:xfrm>
                <a:prstGeom prst="rect">
                  <a:avLst/>
                </a:prstGeom>
                <a:blipFill>
                  <a:blip r:embed="rId4"/>
                  <a:stretch>
                    <a:fillRect b="-2844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6C1D00A-EFB8-1843-305C-B459E52641DB}"/>
                </a:ext>
              </a:extLst>
            </p:cNvPr>
            <p:cNvSpPr/>
            <p:nvPr/>
          </p:nvSpPr>
          <p:spPr>
            <a:xfrm>
              <a:off x="6132128" y="2273525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/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𝒙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𝒚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𝟐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m:rPr>
                            <m:nor/>
                          </m:rPr>
                          <a:rPr lang="en-US" sz="4400" b="1">
                            <a:latin typeface="Tahoma" panose="020B0604030504040204" pitchFamily="34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.</m:t>
                        </m:r>
                      </m:oMath>
                    </m:oMathPara>
                  </a14:m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11A7FA-8488-F918-906D-7310A1E0F367}"/>
                </a:ext>
              </a:extLst>
            </p:cNvPr>
            <p:cNvSpPr/>
            <p:nvPr/>
          </p:nvSpPr>
          <p:spPr>
            <a:xfrm>
              <a:off x="9102807" y="228033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5D913EC-0752-FE03-22AC-1A64D3990366}"/>
              </a:ext>
            </a:extLst>
          </p:cNvPr>
          <p:cNvSpPr/>
          <p:nvPr/>
        </p:nvSpPr>
        <p:spPr>
          <a:xfrm>
            <a:off x="6155673" y="5416467"/>
            <a:ext cx="1080000" cy="1080000"/>
          </a:xfrm>
          <a:prstGeom prst="ellipse">
            <a:avLst/>
          </a:prstGeom>
          <a:solidFill>
            <a:srgbClr val="FF0000"/>
          </a:soli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220060" y="2517802"/>
            <a:ext cx="23943880" cy="2703066"/>
            <a:chOff x="923003" y="3917552"/>
            <a:chExt cx="23943880" cy="2401466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426857"/>
              <a:ext cx="23594672" cy="1892161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7109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4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6076" y="1800653"/>
            <a:ext cx="19656044" cy="830997"/>
            <a:chOff x="-288924" y="1892299"/>
            <a:chExt cx="19659599" cy="830996"/>
          </a:xfrm>
        </p:grpSpPr>
        <p:sp>
          <p:nvSpPr>
            <p:cNvPr id="20" name="Rounded Rectangle 2">
              <a:extLst>
                <a:ext uri="{FF2B5EF4-FFF2-40B4-BE49-F238E27FC236}">
                  <a16:creationId xmlns:a16="http://schemas.microsoft.com/office/drawing/2014/main" id="{74FE6275-B7E9-DAD2-3AE0-482A0C6BEA12}"/>
                </a:ext>
              </a:extLst>
            </p:cNvPr>
            <p:cNvSpPr/>
            <p:nvPr/>
          </p:nvSpPr>
          <p:spPr>
            <a:xfrm>
              <a:off x="-288924" y="1905000"/>
              <a:ext cx="2362200" cy="804672"/>
            </a:xfrm>
            <a:prstGeom prst="roundRect">
              <a:avLst/>
            </a:prstGeom>
            <a:solidFill>
              <a:srgbClr val="145F82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17283113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Phiếu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học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tập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690219" y="3315461"/>
                <a:ext cx="23304511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	</a:t>
                </a:r>
                <a:r>
                  <a:rPr lang="nl-NL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 mặt phẳng </a:t>
                </a:r>
                <a:r>
                  <a:rPr lang="nl-NL" sz="4400" b="1" i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Oxy</a:t>
                </a:r>
                <a:r>
                  <a:rPr lang="nl-NL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p</a:t>
                </a:r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ương trình đường thẳng đi qua 2 điểm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và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𝟔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0219" y="3315461"/>
                <a:ext cx="23304511" cy="1446550"/>
              </a:xfrm>
              <a:prstGeom prst="rect">
                <a:avLst/>
              </a:prstGeom>
              <a:blipFill>
                <a:blip r:embed="rId7"/>
                <a:stretch>
                  <a:fillRect t="-8861" b="-189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7711"/>
            <a:ext cx="23862374" cy="5716250"/>
            <a:chOff x="48567" y="4381499"/>
            <a:chExt cx="23018772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682027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/>
              <p:nvPr/>
            </p:nvSpPr>
            <p:spPr>
              <a:xfrm>
                <a:off x="2801365" y="8249650"/>
                <a:ext cx="18891412" cy="181113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14:m>
                  <m:oMath xmlns:m="http://schemas.openxmlformats.org/officeDocument/2006/math">
                    <m:r>
                      <a:rPr lang="en-US" sz="4800" b="1" i="1" dirty="0" smtClean="0">
                        <a:latin typeface="Cambria Math" panose="02040503050406030204" pitchFamily="18" charset="0"/>
                        <a:ea typeface="Tahoma" panose="020B0604030504040204" pitchFamily="34" charset="0"/>
                        <a:cs typeface="Times New Roman" panose="02020603050405020304" pitchFamily="18" charset="0"/>
                      </a:rPr>
                      <m:t> </m:t>
                    </m:r>
                    <m:acc>
                      <m:accPr>
                        <m:chr m:val="⃗"/>
                        <m:ctrlP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d>
                      <m:dPr>
                        <m:ctrlP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r>
                      <a:rPr lang="en-US" sz="4800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lang="en-US" sz="4800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365" y="8249650"/>
                <a:ext cx="18891412" cy="1811137"/>
              </a:xfrm>
              <a:prstGeom prst="rect">
                <a:avLst/>
              </a:prstGeom>
              <a:blipFill>
                <a:blip r:embed="rId9"/>
                <a:stretch>
                  <a:fillRect l="-1484" t="-4714" b="-1649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/>
              <p:nvPr/>
            </p:nvSpPr>
            <p:spPr>
              <a:xfrm>
                <a:off x="5856456" y="10873034"/>
                <a:ext cx="12972035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𝟑</m:t>
                    </m:r>
                    <m:d>
                      <m:dPr>
                        <m:ctrlPr>
                          <a:rPr lang="en-US" sz="4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𝒙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𝟒</m:t>
                    </m:r>
                    <m:d>
                      <m:dPr>
                        <m:ctrlPr>
                          <a:rPr lang="en-US" sz="4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𝒚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800" b="1" i="1" smtClean="0">
                            <a:latin typeface="Cambria Math" panose="02040503050406030204" pitchFamily="18" charset="0"/>
                          </a:rPr>
                          <m:t>𝟒</m:t>
                        </m:r>
                      </m:e>
                    </m:d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⇔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𝟒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𝟐𝟐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56456" y="10873034"/>
                <a:ext cx="12972035" cy="830997"/>
              </a:xfrm>
              <a:prstGeom prst="rect">
                <a:avLst/>
              </a:prstGeom>
              <a:blipFill>
                <a:blip r:embed="rId10"/>
                <a:stretch>
                  <a:fillRect t="-17647" r="-893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>
            <a:extLst>
              <a:ext uri="{FF2B5EF4-FFF2-40B4-BE49-F238E27FC236}">
                <a16:creationId xmlns:a16="http://schemas.microsoft.com/office/drawing/2014/main" id="{939B0D0B-AF70-467C-95F4-2DAA3C2105B5}"/>
              </a:ext>
            </a:extLst>
          </p:cNvPr>
          <p:cNvSpPr txBox="1"/>
          <p:nvPr/>
        </p:nvSpPr>
        <p:spPr>
          <a:xfrm>
            <a:off x="-2203037" y="11873213"/>
            <a:ext cx="1184454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1BE0BCB-2E42-4F2A-83E5-3D7B37639B08}"/>
                  </a:ext>
                </a:extLst>
              </p:cNvPr>
              <p:cNvSpPr txBox="1"/>
              <p:nvPr/>
            </p:nvSpPr>
            <p:spPr>
              <a:xfrm>
                <a:off x="2801365" y="9992372"/>
                <a:ext cx="10345575" cy="81996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là</a:t>
                </a: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1BE0BCB-2E42-4F2A-83E5-3D7B37639B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365" y="9992372"/>
                <a:ext cx="10345575" cy="819968"/>
              </a:xfrm>
              <a:prstGeom prst="rect">
                <a:avLst/>
              </a:prstGeom>
              <a:blipFill>
                <a:blip r:embed="rId11"/>
                <a:stretch>
                  <a:fillRect l="-2711" t="-19259" r="-295" b="-3703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725952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1" grpId="0"/>
      <p:bldP spid="36" grpId="0"/>
      <p:bldP spid="38" grpId="0"/>
      <p:bldP spid="3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CAE1B80-235C-FCB0-7C49-00665B98DC46}"/>
              </a:ext>
            </a:extLst>
          </p:cNvPr>
          <p:cNvGrpSpPr/>
          <p:nvPr/>
        </p:nvGrpSpPr>
        <p:grpSpPr>
          <a:xfrm>
            <a:off x="63672" y="5320657"/>
            <a:ext cx="24256655" cy="1273806"/>
            <a:chOff x="824" y="2234521"/>
            <a:chExt cx="12130067" cy="636903"/>
          </a:xfrm>
          <a:solidFill>
            <a:srgbClr val="327E3B"/>
          </a:solidFill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/>
                <p:nvPr/>
              </p:nvSpPr>
              <p:spPr>
                <a:xfrm>
                  <a:off x="3522191" y="2241696"/>
                  <a:ext cx="2472824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𝑵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𝟓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B48428A4-F198-A003-78D9-31DE63E551F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22191" y="2241696"/>
                  <a:ext cx="2472824" cy="617268"/>
                </a:xfrm>
                <a:prstGeom prst="rect">
                  <a:avLst/>
                </a:prstGeom>
                <a:blipFill>
                  <a:blip r:embed="rId2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4C83E8D-93AF-AB77-60F0-B14EB14475A7}"/>
                </a:ext>
              </a:extLst>
            </p:cNvPr>
            <p:cNvSpPr/>
            <p:nvPr/>
          </p:nvSpPr>
          <p:spPr>
            <a:xfrm>
              <a:off x="3048595" y="228033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/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𝑴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mc:Choice>
          <mc:Fallback xmlns=""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81EF2102-63C4-8277-3E8F-BA8CDFDCDD1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3352" y="2243792"/>
                  <a:ext cx="2454822" cy="617268"/>
                </a:xfrm>
                <a:prstGeom prst="rect">
                  <a:avLst/>
                </a:prstGeom>
                <a:blipFill>
                  <a:blip r:embed="rId3"/>
                  <a:stretch>
                    <a:fillRect b="-2381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5D97137C-6FE4-7037-9E6D-24323F88C867}"/>
                </a:ext>
              </a:extLst>
            </p:cNvPr>
            <p:cNvSpPr/>
            <p:nvPr/>
          </p:nvSpPr>
          <p:spPr>
            <a:xfrm>
              <a:off x="824" y="2273765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A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/>
                <p:nvPr/>
              </p:nvSpPr>
              <p:spPr>
                <a:xfrm>
                  <a:off x="6505943" y="2254156"/>
                  <a:ext cx="2493049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lvl="0" algn="ctr">
                    <a:defRPr/>
                  </a:pPr>
                  <a14:m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𝑷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;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</m:d>
                    </m:oMath>
                  </a14:m>
                  <a:r>
                    <a:rPr lang="vi-VN" sz="4400" b="1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.</a:t>
                  </a:r>
                  <a:endPara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10C72F87-07A2-0B3A-953A-978CE05518E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05943" y="2254156"/>
                  <a:ext cx="2493049" cy="617268"/>
                </a:xfrm>
                <a:prstGeom prst="rect">
                  <a:avLst/>
                </a:prstGeom>
                <a:blipFill>
                  <a:blip r:embed="rId4"/>
                  <a:stretch>
                    <a:fillRect b="-1896"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6C1D00A-EFB8-1843-305C-B459E52641DB}"/>
                </a:ext>
              </a:extLst>
            </p:cNvPr>
            <p:cNvSpPr/>
            <p:nvPr/>
          </p:nvSpPr>
          <p:spPr>
            <a:xfrm>
              <a:off x="6132128" y="2273525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/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grpFill/>
                <a:ln w="19050">
                  <a:solidFill>
                    <a:schemeClr val="bg1"/>
                  </a:solidFill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𝑸</m:t>
                        </m:r>
                        <m:d>
                          <m:d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𝟑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;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𝟓</m:t>
                            </m:r>
                          </m:e>
                        </m:d>
                        <m:r>
                          <m:rPr>
                            <m:nor/>
                          </m:rPr>
                          <a:rPr lang="vi-VN" sz="4400" b="1">
                            <a:latin typeface="Tahoma" panose="020B0604030504040204" pitchFamily="34" charset="0"/>
                            <a:ea typeface="Tahoma" panose="020B0604030504040204" pitchFamily="34" charset="0"/>
                            <a:cs typeface="Tahoma" panose="020B0604030504040204" pitchFamily="34" charset="0"/>
                          </a:rPr>
                          <m:t>.</m:t>
                        </m:r>
                      </m:oMath>
                    </m:oMathPara>
                  </a14:m>
                  <a:endPara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E80AA816-24B0-A1AB-B512-1B69A8802E48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60272" y="2234521"/>
                  <a:ext cx="2570619" cy="617268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 w="19050">
                  <a:solidFill>
                    <a:schemeClr val="bg1"/>
                  </a:solidFill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511A7FA-8488-F918-906D-7310A1E0F367}"/>
                </a:ext>
              </a:extLst>
            </p:cNvPr>
            <p:cNvSpPr/>
            <p:nvPr/>
          </p:nvSpPr>
          <p:spPr>
            <a:xfrm>
              <a:off x="9102807" y="2280330"/>
              <a:ext cx="540000" cy="540000"/>
            </a:xfrm>
            <a:prstGeom prst="ellipse">
              <a:avLst/>
            </a:prstGeom>
            <a:grpFill/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</a:t>
              </a:r>
              <a:endParaRPr kumimoji="0" lang="en-US" sz="6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E5D913EC-0752-FE03-22AC-1A64D3990366}"/>
              </a:ext>
            </a:extLst>
          </p:cNvPr>
          <p:cNvSpPr/>
          <p:nvPr/>
        </p:nvSpPr>
        <p:spPr>
          <a:xfrm>
            <a:off x="6134647" y="5437195"/>
            <a:ext cx="1080000" cy="1080000"/>
          </a:xfrm>
          <a:prstGeom prst="ellipse">
            <a:avLst/>
          </a:prstGeom>
          <a:solidFill>
            <a:srgbClr val="FF0000"/>
          </a:solidFill>
          <a:ln w="57150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220060" y="2517802"/>
            <a:ext cx="23943880" cy="2703066"/>
            <a:chOff x="923003" y="3917552"/>
            <a:chExt cx="23943880" cy="2401466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426857"/>
              <a:ext cx="23594672" cy="1892161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7109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5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6076" y="1800653"/>
            <a:ext cx="19656044" cy="830997"/>
            <a:chOff x="-288924" y="1892299"/>
            <a:chExt cx="19659599" cy="830996"/>
          </a:xfrm>
        </p:grpSpPr>
        <p:sp>
          <p:nvSpPr>
            <p:cNvPr id="20" name="Rounded Rectangle 2">
              <a:extLst>
                <a:ext uri="{FF2B5EF4-FFF2-40B4-BE49-F238E27FC236}">
                  <a16:creationId xmlns:a16="http://schemas.microsoft.com/office/drawing/2014/main" id="{74FE6275-B7E9-DAD2-3AE0-482A0C6BEA12}"/>
                </a:ext>
              </a:extLst>
            </p:cNvPr>
            <p:cNvSpPr/>
            <p:nvPr/>
          </p:nvSpPr>
          <p:spPr>
            <a:xfrm>
              <a:off x="-288924" y="1905000"/>
              <a:ext cx="2362200" cy="804672"/>
            </a:xfrm>
            <a:prstGeom prst="roundRect">
              <a:avLst/>
            </a:prstGeom>
            <a:solidFill>
              <a:srgbClr val="145F82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17283113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Phiếu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học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tập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690219" y="3315461"/>
                <a:ext cx="23304511" cy="201452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 đường thẳng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ó phương trình tham số là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mr>
                          <m:mr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mr>
                        </m:m>
                        <m:d>
                          <m:d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𝒕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∈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ℝ</m:t>
                            </m:r>
                          </m:e>
                        </m:d>
                      </m:e>
                    </m:d>
                  </m:oMath>
                </a14:m>
                <a:r>
                  <a:rPr lang="vi-VN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0219" y="3315461"/>
                <a:ext cx="23304511" cy="2014526"/>
              </a:xfrm>
              <a:prstGeom prst="rect">
                <a:avLst/>
              </a:prstGeom>
              <a:blipFill>
                <a:blip r:embed="rId7"/>
                <a:stretch>
                  <a:fillRect l="-1046" b="-136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7711"/>
            <a:ext cx="23862374" cy="5716250"/>
            <a:chOff x="48567" y="4381499"/>
            <a:chExt cx="23018772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682027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/>
              <p:nvPr/>
            </p:nvSpPr>
            <p:spPr>
              <a:xfrm>
                <a:off x="2801365" y="8249650"/>
                <a:ext cx="18891412" cy="160184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y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𝑵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vào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 </a:t>
                </a:r>
                <a:r>
                  <a:rPr lang="en-US" sz="48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endParaRPr lang="en-US" sz="48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E67763E-6CAA-4BD1-433D-E7474479ED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365" y="8249650"/>
                <a:ext cx="18891412" cy="1601849"/>
              </a:xfrm>
              <a:prstGeom prst="rect">
                <a:avLst/>
              </a:prstGeom>
              <a:blipFill>
                <a:blip r:embed="rId9"/>
                <a:stretch>
                  <a:fillRect l="-1484" t="-9886" r="-1452" b="-193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/>
              <p:nvPr/>
            </p:nvSpPr>
            <p:spPr>
              <a:xfrm>
                <a:off x="4495800" y="9842168"/>
                <a:ext cx="6769421" cy="174002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800" b="1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sz="48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mr>
                          <m:mr>
                            <m:e>
                              <m: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𝟓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</m:mr>
                        </m:m>
                      </m:e>
                    </m:d>
                    <m:r>
                      <a:rPr lang="en-US" sz="48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⇔</m:t>
                    </m:r>
                    <m:d>
                      <m:dPr>
                        <m:begChr m:val="{"/>
                        <m:endChr m:val=""/>
                        <m:ctrlPr>
                          <a:rPr lang="en-US" sz="48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m>
                          <m:mPr>
                            <m:mcs>
                              <m:mc>
                                <m:mcPr>
                                  <m:count m:val="1"/>
                                  <m:mcJc m:val="center"/>
                                </m:mcPr>
                              </m:mc>
                            </m:mcs>
                            <m:ctrlPr>
                              <a:rPr lang="en-US" sz="4800" b="1" i="1">
                                <a:latin typeface="Cambria Math" panose="02040503050406030204" pitchFamily="18" charset="0"/>
                              </a:rPr>
                            </m:ctrlPr>
                          </m:mPr>
                          <m:mr>
                            <m:e>
                              <m:r>
                                <m:rPr>
                                  <m:brk m:alnAt="7"/>
                                </m:rP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e>
                          </m:mr>
                          <m:mr>
                            <m:e>
                              <m: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en-US" sz="48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800" b="1" i="1" smtClean="0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e>
                          </m:mr>
                        </m:m>
                      </m:e>
                    </m:d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BB1CEA2-9C8A-412D-AE6B-BE9F86B644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5800" y="9842168"/>
                <a:ext cx="6769421" cy="1740028"/>
              </a:xfrm>
              <a:prstGeom prst="rect">
                <a:avLst/>
              </a:prstGeom>
              <a:blipFill>
                <a:blip r:embed="rId10"/>
                <a:stretch>
                  <a:fillRect r="-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>
            <a:extLst>
              <a:ext uri="{FF2B5EF4-FFF2-40B4-BE49-F238E27FC236}">
                <a16:creationId xmlns:a16="http://schemas.microsoft.com/office/drawing/2014/main" id="{939B0D0B-AF70-467C-95F4-2DAA3C2105B5}"/>
              </a:ext>
            </a:extLst>
          </p:cNvPr>
          <p:cNvSpPr txBox="1"/>
          <p:nvPr/>
        </p:nvSpPr>
        <p:spPr>
          <a:xfrm>
            <a:off x="2671756" y="11867580"/>
            <a:ext cx="28797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452B233-36F0-40A8-A632-81647BE3111B}"/>
                  </a:ext>
                </a:extLst>
              </p:cNvPr>
              <p:cNvSpPr txBox="1"/>
              <p:nvPr/>
            </p:nvSpPr>
            <p:spPr>
              <a:xfrm>
                <a:off x="11022126" y="10233984"/>
                <a:ext cx="4146354" cy="8477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en-US" sz="4800" b="1" dirty="0" err="1"/>
                  <a:t>Suy</a:t>
                </a:r>
                <a:r>
                  <a:rPr lang="en-US" sz="4800" b="1" dirty="0"/>
                  <a:t> ra </a:t>
                </a: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𝑵</m:t>
                    </m:r>
                    <m:r>
                      <a:rPr lang="en-US" sz="4800" b="1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Tahoma" panose="020B0604030504040204" pitchFamily="34" charset="0"/>
                      </a:rPr>
                      <m:t>∈∆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452B233-36F0-40A8-A632-81647BE3111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22126" y="10233984"/>
                <a:ext cx="4146354" cy="847733"/>
              </a:xfrm>
              <a:prstGeom prst="rect">
                <a:avLst/>
              </a:prstGeom>
              <a:blipFill>
                <a:blip r:embed="rId11"/>
                <a:stretch>
                  <a:fillRect l="-147" t="-19424" r="-147" b="-366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6044419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1" grpId="0"/>
      <p:bldP spid="36" grpId="0"/>
      <p:bldP spid="38" grpId="0"/>
      <p:bldP spid="4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160002" y="1774310"/>
            <a:ext cx="23943880" cy="5727918"/>
            <a:chOff x="923003" y="3917552"/>
            <a:chExt cx="23943880" cy="3985179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426857"/>
              <a:ext cx="23594672" cy="3475874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3" cy="905522"/>
              <a:chOff x="923003" y="3917552"/>
              <a:chExt cx="3942103" cy="905522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6" y="4022855"/>
                <a:ext cx="3503060" cy="800219"/>
                <a:chOff x="2028796" y="4384805"/>
                <a:chExt cx="3503060" cy="800219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491243" y="2955830"/>
                  <a:ext cx="578165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8002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1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694743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8229600" y="1558272"/>
            <a:ext cx="6471175" cy="830997"/>
            <a:chOff x="1082674" y="1892299"/>
            <a:chExt cx="6472345" cy="83099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5467457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Vận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ụng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1.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4E53EB0-6D81-C9D0-3480-AE8B3EDD8E39}"/>
              </a:ext>
            </a:extLst>
          </p:cNvPr>
          <p:cNvSpPr txBox="1"/>
          <p:nvPr/>
        </p:nvSpPr>
        <p:spPr>
          <a:xfrm>
            <a:off x="654290" y="2757868"/>
            <a:ext cx="23304511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       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ột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ìn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ầ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uê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ô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y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ử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ết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ị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ìn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ó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ê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ệ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ớ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ô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y A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.</a:t>
            </a:r>
          </a:p>
          <a:p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ô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y A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ó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ờ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à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ợp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â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ê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ế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ủ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ộ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ả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ả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0.000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ước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í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ộ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0.000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ỗ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ờ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ịc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ụ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ử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ữ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ô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y B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ó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ờ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à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ợp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â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ê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ế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h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ủ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ộ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ả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ả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75.000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ỗ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ờ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ịc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ụ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ử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ữa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ãy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ính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em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ê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ọ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ợp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ồ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ớ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ô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y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ào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ể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hi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í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ấp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ơ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  <a:p>
            <a:pPr lvl="0"/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696199"/>
            <a:ext cx="24101318" cy="5287761"/>
            <a:chOff x="48567" y="4381499"/>
            <a:chExt cx="23249269" cy="5716249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941556"/>
              <a:ext cx="22912524" cy="5156192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E67763E-6CAA-4BD1-433D-E7474479ED46}"/>
              </a:ext>
            </a:extLst>
          </p:cNvPr>
          <p:cNvSpPr txBox="1"/>
          <p:nvPr/>
        </p:nvSpPr>
        <p:spPr>
          <a:xfrm>
            <a:off x="-211400" y="9021211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ừ cách tính chi phí của công ty A xác định được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8332260-7004-4AF6-A89A-73CE38EDF724}"/>
                  </a:ext>
                </a:extLst>
              </p:cNvPr>
              <p:cNvSpPr txBox="1"/>
              <p:nvPr/>
            </p:nvSpPr>
            <p:spPr>
              <a:xfrm>
                <a:off x="18076542" y="9019541"/>
                <a:ext cx="6486018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𝟓𝟎𝟎𝟎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𝟓𝟎𝟎𝟎𝟎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8332260-7004-4AF6-A89A-73CE38EDF7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076542" y="9019541"/>
                <a:ext cx="6486018" cy="830997"/>
              </a:xfrm>
              <a:prstGeom prst="rect">
                <a:avLst/>
              </a:prstGeom>
              <a:blipFill>
                <a:blip r:embed="rId4"/>
                <a:stretch>
                  <a:fillRect t="-17647" r="-2538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Box 31">
            <a:extLst>
              <a:ext uri="{FF2B5EF4-FFF2-40B4-BE49-F238E27FC236}">
                <a16:creationId xmlns:a16="http://schemas.microsoft.com/office/drawing/2014/main" id="{26F49AF8-D195-4A20-B1EE-B905DAFA0B8D}"/>
              </a:ext>
            </a:extLst>
          </p:cNvPr>
          <p:cNvSpPr txBox="1"/>
          <p:nvPr/>
        </p:nvSpPr>
        <p:spPr>
          <a:xfrm>
            <a:off x="-175704" y="9751416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ừ cách tính chi phí của công ty A xác định được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B257251E-F530-45FC-BAD4-DE5219877AD0}"/>
                  </a:ext>
                </a:extLst>
              </p:cNvPr>
              <p:cNvSpPr txBox="1"/>
              <p:nvPr/>
            </p:nvSpPr>
            <p:spPr>
              <a:xfrm>
                <a:off x="18155415" y="9655288"/>
                <a:ext cx="4199504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𝟕𝟓𝟎𝟎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𝒙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B257251E-F530-45FC-BAD4-DE5219877A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55415" y="9655288"/>
                <a:ext cx="4199504" cy="830997"/>
              </a:xfrm>
              <a:prstGeom prst="rect">
                <a:avLst/>
              </a:prstGeom>
              <a:blipFill>
                <a:blip r:embed="rId5"/>
                <a:stretch>
                  <a:fillRect t="-17647" r="-726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4CBEF4D2-7E51-4137-BFA9-196A3353DA4D}"/>
              </a:ext>
            </a:extLst>
          </p:cNvPr>
          <p:cNvSpPr txBox="1"/>
          <p:nvPr/>
        </p:nvSpPr>
        <p:spPr>
          <a:xfrm>
            <a:off x="490427" y="10444710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ành độ giao điểm của hai đường thẳng là nghiệm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1E6707F-582E-4BF9-8877-4E2B79BA2443}"/>
                  </a:ext>
                </a:extLst>
              </p:cNvPr>
              <p:cNvSpPr txBox="1"/>
              <p:nvPr/>
            </p:nvSpPr>
            <p:spPr>
              <a:xfrm>
                <a:off x="5410200" y="11020525"/>
                <a:ext cx="11254288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𝟓𝟎𝟎𝟎</m:t>
                      </m:r>
                      <m:r>
                        <a:rPr lang="en-US" sz="48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𝟓𝟎𝟎𝟎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𝟕𝟓𝟎𝟎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⇔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𝟐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1E6707F-582E-4BF9-8877-4E2B79BA24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0200" y="11020525"/>
                <a:ext cx="11254288" cy="83099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A8D0732-567D-4D20-BEA2-6B3F527480BC}"/>
                  </a:ext>
                </a:extLst>
              </p:cNvPr>
              <p:cNvSpPr txBox="1"/>
              <p:nvPr/>
            </p:nvSpPr>
            <p:spPr>
              <a:xfrm>
                <a:off x="4278025" y="8174098"/>
                <a:ext cx="13095575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𝒙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giờ) là thời gian sửa chữa của dịch vụ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A8D0732-567D-4D20-BEA2-6B3F527480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78025" y="8174098"/>
                <a:ext cx="13095575" cy="769441"/>
              </a:xfrm>
              <a:prstGeom prst="rect">
                <a:avLst/>
              </a:prstGeom>
              <a:blipFill>
                <a:blip r:embed="rId7"/>
                <a:stretch>
                  <a:fillRect l="-279" t="-17460" r="-186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D05F063-05F5-4D78-B7FB-C3E022E25E81}"/>
                  </a:ext>
                </a:extLst>
              </p:cNvPr>
              <p:cNvSpPr txBox="1"/>
              <p:nvPr/>
            </p:nvSpPr>
            <p:spPr>
              <a:xfrm>
                <a:off x="304800" y="11600155"/>
                <a:ext cx="14395975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 sửa chữa dưới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giờ) thì nên thuê công ty A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D05F063-05F5-4D78-B7FB-C3E022E25E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11600155"/>
                <a:ext cx="14395975" cy="769441"/>
              </a:xfrm>
              <a:prstGeom prst="rect">
                <a:avLst/>
              </a:prstGeom>
              <a:blipFill>
                <a:blip r:embed="rId8"/>
                <a:stretch>
                  <a:fillRect l="-296" t="-17460" r="-339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BC1F501-EF57-4B28-AFAA-6F9488156EB5}"/>
                  </a:ext>
                </a:extLst>
              </p:cNvPr>
              <p:cNvSpPr txBox="1"/>
              <p:nvPr/>
            </p:nvSpPr>
            <p:spPr>
              <a:xfrm>
                <a:off x="315686" y="12310961"/>
                <a:ext cx="14395975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 sửa chữa trên </a:t>
                </a:r>
                <a14:m>
                  <m:oMath xmlns:m="http://schemas.openxmlformats.org/officeDocument/2006/math">
                    <m:r>
                      <a:rPr lang="en-US" sz="44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giờ) thì nên thuê công ty B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BC1F501-EF57-4B28-AFAA-6F9488156E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686" y="12310961"/>
                <a:ext cx="14395975" cy="769441"/>
              </a:xfrm>
              <a:prstGeom prst="rect">
                <a:avLst/>
              </a:prstGeom>
              <a:blipFill>
                <a:blip r:embed="rId9"/>
                <a:stretch>
                  <a:fillRect t="-17460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8465715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24" grpId="0"/>
      <p:bldP spid="32" grpId="0"/>
      <p:bldP spid="33" grpId="0"/>
      <p:bldP spid="34" grpId="0"/>
      <p:bldP spid="35" grpId="0"/>
      <p:bldP spid="36" grpId="0"/>
      <p:bldP spid="39" grpId="0"/>
      <p:bldP spid="4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9155F507-DD34-3FE0-680C-9586B8AE806D}"/>
              </a:ext>
            </a:extLst>
          </p:cNvPr>
          <p:cNvGrpSpPr/>
          <p:nvPr/>
        </p:nvGrpSpPr>
        <p:grpSpPr>
          <a:xfrm>
            <a:off x="160002" y="1774310"/>
            <a:ext cx="14590467" cy="5490781"/>
            <a:chOff x="923003" y="3917552"/>
            <a:chExt cx="14590467" cy="3985179"/>
          </a:xfrm>
        </p:grpSpPr>
        <p:sp>
          <p:nvSpPr>
            <p:cNvPr id="13" name="Rounded Rectangle 41">
              <a:extLst>
                <a:ext uri="{FF2B5EF4-FFF2-40B4-BE49-F238E27FC236}">
                  <a16:creationId xmlns:a16="http://schemas.microsoft.com/office/drawing/2014/main" id="{CF200796-2C05-26D5-EDA1-17D43F34D327}"/>
                </a:ext>
              </a:extLst>
            </p:cNvPr>
            <p:cNvSpPr/>
            <p:nvPr/>
          </p:nvSpPr>
          <p:spPr>
            <a:xfrm>
              <a:off x="1272211" y="4150956"/>
              <a:ext cx="14241259" cy="3751775"/>
            </a:xfrm>
            <a:prstGeom prst="roundRect">
              <a:avLst>
                <a:gd name="adj" fmla="val 10158"/>
              </a:avLst>
            </a:prstGeom>
            <a:solidFill>
              <a:srgbClr val="FEEBB0"/>
            </a:solidFill>
            <a:ln w="12700">
              <a:solidFill>
                <a:srgbClr val="91720D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 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E44BCC2-5BA7-C501-7AE9-A4AE9580E3A7}"/>
                </a:ext>
              </a:extLst>
            </p:cNvPr>
            <p:cNvGrpSpPr/>
            <p:nvPr/>
          </p:nvGrpSpPr>
          <p:grpSpPr>
            <a:xfrm>
              <a:off x="923003" y="3917552"/>
              <a:ext cx="3942102" cy="1040476"/>
              <a:chOff x="923003" y="3917552"/>
              <a:chExt cx="3942102" cy="104047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7AD3F96-4B55-CEDD-548C-77B12FE670F5}"/>
                  </a:ext>
                </a:extLst>
              </p:cNvPr>
              <p:cNvGrpSpPr/>
              <p:nvPr/>
            </p:nvGrpSpPr>
            <p:grpSpPr>
              <a:xfrm>
                <a:off x="1362045" y="4022855"/>
                <a:ext cx="3503060" cy="865576"/>
                <a:chOff x="2028795" y="4384805"/>
                <a:chExt cx="3503060" cy="865576"/>
              </a:xfrm>
            </p:grpSpPr>
            <p:sp>
              <p:nvSpPr>
                <p:cNvPr id="17" name="Freeform 20">
                  <a:extLst>
                    <a:ext uri="{FF2B5EF4-FFF2-40B4-BE49-F238E27FC236}">
                      <a16:creationId xmlns:a16="http://schemas.microsoft.com/office/drawing/2014/main" id="{80502513-A25B-0835-4109-DB952381B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5400000">
                  <a:off x="3364273" y="3082799"/>
                  <a:ext cx="832104" cy="3503060"/>
                </a:xfrm>
                <a:prstGeom prst="round2SameRect">
                  <a:avLst>
                    <a:gd name="adj1" fmla="val 19445"/>
                    <a:gd name="adj2" fmla="val 0"/>
                  </a:avLst>
                </a:prstGeom>
                <a:solidFill>
                  <a:srgbClr val="FFF9BC"/>
                </a:solidFill>
                <a:ln w="57150">
                  <a:solidFill>
                    <a:srgbClr val="91720D"/>
                  </a:solidFill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2699666-CC20-6F86-87E2-AEE0883EEB1F}"/>
                    </a:ext>
                  </a:extLst>
                </p:cNvPr>
                <p:cNvSpPr txBox="1"/>
                <p:nvPr/>
              </p:nvSpPr>
              <p:spPr>
                <a:xfrm>
                  <a:off x="2542253" y="4384805"/>
                  <a:ext cx="2895398" cy="55675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CÂU</a:t>
                  </a:r>
                  <a:r>
                    <a:rPr kumimoji="0" lang="en-US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2</a:t>
                  </a:r>
                  <a:r>
                    <a:rPr kumimoji="0" lang="vi-VN" sz="4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 </a:t>
                  </a:r>
                  <a:endParaRPr kumimoji="0" lang="en-US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085EF6A8-BBD4-97C5-E898-A64BAB3D1F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99" t="21515" r="9759" b="14519"/>
              <a:stretch/>
            </p:blipFill>
            <p:spPr>
              <a:xfrm>
                <a:off x="923003" y="3917552"/>
                <a:ext cx="1076356" cy="1040476"/>
              </a:xfrm>
              <a:prstGeom prst="round2DiagRect">
                <a:avLst>
                  <a:gd name="adj1" fmla="val 30509"/>
                  <a:gd name="adj2" fmla="val 0"/>
                </a:avLst>
              </a:prstGeom>
              <a:ln w="38100" cap="sq">
                <a:solidFill>
                  <a:srgbClr val="91720D"/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5851CE-163D-E150-15B4-D46B2C25F56B}"/>
              </a:ext>
            </a:extLst>
          </p:cNvPr>
          <p:cNvGrpSpPr/>
          <p:nvPr/>
        </p:nvGrpSpPr>
        <p:grpSpPr>
          <a:xfrm>
            <a:off x="8286221" y="1325760"/>
            <a:ext cx="6471175" cy="830997"/>
            <a:chOff x="1082674" y="1892299"/>
            <a:chExt cx="6472345" cy="83099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67C850C-3131-19EE-36C3-6638125E49C6}"/>
                </a:ext>
              </a:extLst>
            </p:cNvPr>
            <p:cNvSpPr txBox="1"/>
            <p:nvPr/>
          </p:nvSpPr>
          <p:spPr>
            <a:xfrm>
              <a:off x="1082674" y="1922269"/>
              <a:ext cx="184764" cy="7540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B0D0D9F-715B-8424-BFC2-4CD5B5579F91}"/>
                </a:ext>
              </a:extLst>
            </p:cNvPr>
            <p:cNvSpPr txBox="1"/>
            <p:nvPr/>
          </p:nvSpPr>
          <p:spPr>
            <a:xfrm>
              <a:off x="2087562" y="1892299"/>
              <a:ext cx="5467457" cy="830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Vận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dụng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145F82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2.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/>
              <p:nvPr/>
            </p:nvSpPr>
            <p:spPr>
              <a:xfrm>
                <a:off x="953184" y="2386848"/>
                <a:ext cx="14046485" cy="483209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       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ụ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2: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ườ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HPT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ầ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ê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e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du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ịch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Sau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ìm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iểu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ị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ườ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ô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y X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ịch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ụ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𝟏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.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𝟎𝟎𝟎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.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𝟎𝟎𝟎</m:t>
                    </m:r>
                  </m:oMath>
                </a14:m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/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ày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ộ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𝟏𝟎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.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𝟎𝟎𝟎</m:t>
                    </m:r>
                  </m:oMath>
                </a14:m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/1 km.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ò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ô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y Y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ịch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ụ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𝟐𝟎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.</m:t>
                    </m:r>
                    <m:r>
                      <a:rPr lang="en-US" sz="4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ahoma" panose="020B0604030504040204" pitchFamily="34" charset="0"/>
                      </a:rPr>
                      <m:t>𝟎𝟎𝟎</m:t>
                    </m:r>
                  </m:oMath>
                </a14:m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/1 km. Theo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m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à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ườ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ọ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e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ợp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ê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e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ông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y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ê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ấp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ơn</a:t>
                </a:r>
                <a:r>
                  <a:rPr lang="en-US" sz="4400" b="1" dirty="0"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?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4E53EB0-6D81-C9D0-3480-AE8B3EDD8E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3184" y="2386848"/>
                <a:ext cx="14046485" cy="4832092"/>
              </a:xfrm>
              <a:prstGeom prst="rect">
                <a:avLst/>
              </a:prstGeom>
              <a:blipFill>
                <a:blip r:embed="rId4"/>
                <a:stretch>
                  <a:fillRect l="-1735" t="-2652" r="-1605" b="-51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5" name="Group 24">
            <a:extLst>
              <a:ext uri="{FF2B5EF4-FFF2-40B4-BE49-F238E27FC236}">
                <a16:creationId xmlns:a16="http://schemas.microsoft.com/office/drawing/2014/main" id="{C37EE2FA-AEC6-92CF-2594-955CAB62A19A}"/>
              </a:ext>
            </a:extLst>
          </p:cNvPr>
          <p:cNvGrpSpPr/>
          <p:nvPr/>
        </p:nvGrpSpPr>
        <p:grpSpPr>
          <a:xfrm>
            <a:off x="141341" y="7265090"/>
            <a:ext cx="23862374" cy="6069909"/>
            <a:chOff x="48567" y="4381499"/>
            <a:chExt cx="23018772" cy="5716250"/>
          </a:xfrm>
          <a:solidFill>
            <a:srgbClr val="DAE3F3"/>
          </a:solidFill>
        </p:grpSpPr>
        <p:sp>
          <p:nvSpPr>
            <p:cNvPr id="26" name="Rounded Rectangle 52">
              <a:extLst>
                <a:ext uri="{FF2B5EF4-FFF2-40B4-BE49-F238E27FC236}">
                  <a16:creationId xmlns:a16="http://schemas.microsoft.com/office/drawing/2014/main" id="{E7544F39-6343-495F-6150-CB95CB1743DD}"/>
                </a:ext>
              </a:extLst>
            </p:cNvPr>
            <p:cNvSpPr/>
            <p:nvPr/>
          </p:nvSpPr>
          <p:spPr>
            <a:xfrm>
              <a:off x="385312" y="4519422"/>
              <a:ext cx="22682027" cy="5578327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5EB8AB53-A836-EB8E-52C9-9E71BAA9E134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C400BFB7-A84E-C2FC-CF40-0D695F075AC3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1D3D6AB-0C38-4A08-2633-39461CFFB4ED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EAEEEB99-4B95-5D15-D11B-15E38404F7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pic>
        <p:nvPicPr>
          <p:cNvPr id="24" name="Picture 23" descr="Cho thuê xe 16 chỗ quận 7 - Cho Thuê Xe Giá Rẻ - Thuê Xe Ôtô Thuê Xe Tphcm">
            <a:extLst>
              <a:ext uri="{FF2B5EF4-FFF2-40B4-BE49-F238E27FC236}">
                <a16:creationId xmlns:a16="http://schemas.microsoft.com/office/drawing/2014/main" id="{89AD11DE-FC20-4277-84E4-C5FFFD760A5E}"/>
              </a:ext>
            </a:extLst>
          </p:cNvPr>
          <p:cNvPicPr/>
          <p:nvPr>
            <p:custDataLst>
              <p:tags r:id="rId1"/>
            </p:custDataLst>
          </p:nvPr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8869" y="2156757"/>
            <a:ext cx="8754120" cy="4955365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1FDD34D-2A35-4855-A349-0BDB83978447}"/>
                  </a:ext>
                </a:extLst>
              </p:cNvPr>
              <p:cNvSpPr txBox="1"/>
              <p:nvPr/>
            </p:nvSpPr>
            <p:spPr>
              <a:xfrm>
                <a:off x="3352800" y="7495182"/>
                <a:ext cx="13095575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𝒙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km) là quãng đường đi du lịch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1FDD34D-2A35-4855-A349-0BDB839784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2800" y="7495182"/>
                <a:ext cx="13095575" cy="769441"/>
              </a:xfrm>
              <a:prstGeom prst="rect">
                <a:avLst/>
              </a:prstGeom>
              <a:blipFill>
                <a:blip r:embed="rId8"/>
                <a:stretch>
                  <a:fillRect t="-17460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5ABB35BF-F415-4A52-BCCB-4F3060B2F6BC}"/>
              </a:ext>
            </a:extLst>
          </p:cNvPr>
          <p:cNvSpPr txBox="1"/>
          <p:nvPr/>
        </p:nvSpPr>
        <p:spPr>
          <a:xfrm>
            <a:off x="-154779" y="8356728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ừ cách tính chi phí của công ty X xác định được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ECB741CB-5E6D-4E70-8644-3B2BC0284C54}"/>
                  </a:ext>
                </a:extLst>
              </p:cNvPr>
              <p:cNvSpPr txBox="1"/>
              <p:nvPr/>
            </p:nvSpPr>
            <p:spPr>
              <a:xfrm>
                <a:off x="16413739" y="9126169"/>
                <a:ext cx="716280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 xmlns:m="http://schemas.openxmlformats.org/officeDocument/2006/math"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𝟏𝟎𝟎𝟎</m:t>
                    </m:r>
                    <m:r>
                      <a:rPr lang="en-US" sz="48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800" b="1" i="1" smtClean="0">
                        <a:latin typeface="Cambria Math" panose="02040503050406030204" pitchFamily="18" charset="0"/>
                      </a:rPr>
                      <m:t>𝟏𝟎𝟎𝟎𝟎𝟎𝟎</m:t>
                    </m:r>
                  </m:oMath>
                </a14:m>
                <a:r>
                  <a:rPr lang="en-US" sz="48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ECB741CB-5E6D-4E70-8644-3B2BC0284C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13739" y="9126169"/>
                <a:ext cx="7162800" cy="830997"/>
              </a:xfrm>
              <a:prstGeom prst="rect">
                <a:avLst/>
              </a:prstGeom>
              <a:blipFill>
                <a:blip r:embed="rId9"/>
                <a:stretch>
                  <a:fillRect t="-17647" r="-2638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TextBox 35">
            <a:extLst>
              <a:ext uri="{FF2B5EF4-FFF2-40B4-BE49-F238E27FC236}">
                <a16:creationId xmlns:a16="http://schemas.microsoft.com/office/drawing/2014/main" id="{C4E050C7-B513-41C9-9635-DAF9080A4140}"/>
              </a:ext>
            </a:extLst>
          </p:cNvPr>
          <p:cNvSpPr txBox="1"/>
          <p:nvPr/>
        </p:nvSpPr>
        <p:spPr>
          <a:xfrm>
            <a:off x="-27709" y="9863400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ừ cách tính chi phí của công ty Y xác định được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AB2B5DE-DE41-472C-8F6E-08F4B9AAE4E3}"/>
                  </a:ext>
                </a:extLst>
              </p:cNvPr>
              <p:cNvSpPr txBox="1"/>
              <p:nvPr/>
            </p:nvSpPr>
            <p:spPr>
              <a:xfrm>
                <a:off x="18516600" y="9879505"/>
                <a:ext cx="403860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8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𝟐𝟎𝟎𝟎</m:t>
                      </m:r>
                      <m:r>
                        <a:rPr lang="en-US" sz="48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4AB2B5DE-DE41-472C-8F6E-08F4B9AAE4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16600" y="9879505"/>
                <a:ext cx="4038600" cy="830997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>
            <a:extLst>
              <a:ext uri="{FF2B5EF4-FFF2-40B4-BE49-F238E27FC236}">
                <a16:creationId xmlns:a16="http://schemas.microsoft.com/office/drawing/2014/main" id="{86440350-B338-4C7A-8FAC-D8AE1C4AE7F1}"/>
              </a:ext>
            </a:extLst>
          </p:cNvPr>
          <p:cNvSpPr txBox="1"/>
          <p:nvPr/>
        </p:nvSpPr>
        <p:spPr>
          <a:xfrm>
            <a:off x="560669" y="10518674"/>
            <a:ext cx="1889141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nb-NO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ành độ giao điểm của hai đường thẳng là nghiệm phương trình: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4600A3E-C23F-46C0-AFF6-320F9D02EF55}"/>
                  </a:ext>
                </a:extLst>
              </p:cNvPr>
              <p:cNvSpPr txBox="1"/>
              <p:nvPr/>
            </p:nvSpPr>
            <p:spPr>
              <a:xfrm>
                <a:off x="6319186" y="11288115"/>
                <a:ext cx="12197414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𝟏𝟎𝟎𝟎</m:t>
                      </m:r>
                      <m:r>
                        <a:rPr lang="en-US" sz="48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𝟏𝟎𝟎𝟎𝟎𝟎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𝟐𝟎𝟎𝟎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⇔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𝒙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𝟏𝟎𝟎</m:t>
                      </m:r>
                      <m:r>
                        <a:rPr lang="en-US" sz="4800" b="1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sz="4800" b="1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14600A3E-C23F-46C0-AFF6-320F9D02EF5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19186" y="11288115"/>
                <a:ext cx="12197414" cy="830997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1E3C497-A5A2-407C-89AB-FA069884EC02}"/>
                  </a:ext>
                </a:extLst>
              </p:cNvPr>
              <p:cNvSpPr txBox="1"/>
              <p:nvPr/>
            </p:nvSpPr>
            <p:spPr>
              <a:xfrm>
                <a:off x="483501" y="12041597"/>
                <a:ext cx="12927700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 đi dưới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𝟎𝟎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km) thì nên thuê công ty X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1E3C497-A5A2-407C-89AB-FA069884EC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3501" y="12041597"/>
                <a:ext cx="12927700" cy="769441"/>
              </a:xfrm>
              <a:prstGeom prst="rect">
                <a:avLst/>
              </a:prstGeom>
              <a:blipFill>
                <a:blip r:embed="rId12"/>
                <a:stretch>
                  <a:fillRect l="-660" t="-16535" r="-707" b="-354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EBE3D854-AC28-4151-BA37-315F29D6E438}"/>
                  </a:ext>
                </a:extLst>
              </p:cNvPr>
              <p:cNvSpPr txBox="1"/>
              <p:nvPr/>
            </p:nvSpPr>
            <p:spPr>
              <a:xfrm>
                <a:off x="464503" y="12696725"/>
                <a:ext cx="12927700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defRPr/>
                </a:pPr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 đi trên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𝟏𝟎𝟎</m:t>
                    </m:r>
                    <m:r>
                      <a:rPr lang="en-US" sz="4400" b="1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nb-NO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km) thì nên thuê công ty Y.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EBE3D854-AC28-4151-BA37-315F29D6E4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503" y="12696725"/>
                <a:ext cx="12927700" cy="769441"/>
              </a:xfrm>
              <a:prstGeom prst="rect">
                <a:avLst/>
              </a:prstGeom>
              <a:blipFill>
                <a:blip r:embed="rId13"/>
                <a:stretch>
                  <a:fillRect l="-236" t="-17460" r="-283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97330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" name="Group 101"/>
          <p:cNvGrpSpPr/>
          <p:nvPr/>
        </p:nvGrpSpPr>
        <p:grpSpPr>
          <a:xfrm>
            <a:off x="16014700" y="2692679"/>
            <a:ext cx="7924800" cy="10364198"/>
            <a:chOff x="16014700" y="2692679"/>
            <a:chExt cx="7924800" cy="10364198"/>
          </a:xfrm>
        </p:grpSpPr>
        <p:sp>
          <p:nvSpPr>
            <p:cNvPr id="101" name="Rectangle 100"/>
            <p:cNvSpPr/>
            <p:nvPr/>
          </p:nvSpPr>
          <p:spPr>
            <a:xfrm>
              <a:off x="16014700" y="2692679"/>
              <a:ext cx="7924800" cy="10364198"/>
            </a:xfrm>
            <a:prstGeom prst="rect">
              <a:avLst/>
            </a:prstGeom>
            <a:solidFill>
              <a:srgbClr val="D6F7FE"/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vi-VN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6014700" y="3729825"/>
              <a:ext cx="7924800" cy="8678854"/>
              <a:chOff x="16459200" y="3741746"/>
              <a:chExt cx="7924800" cy="8678854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16459200" y="3886200"/>
                <a:ext cx="7620000" cy="8534400"/>
                <a:chOff x="16459200" y="3886200"/>
                <a:chExt cx="7620000" cy="8534400"/>
              </a:xfrm>
            </p:grpSpPr>
            <p:cxnSp>
              <p:nvCxnSpPr>
                <p:cNvPr id="3" name="Straight Arrow Connector 2"/>
                <p:cNvCxnSpPr/>
                <p:nvPr/>
              </p:nvCxnSpPr>
              <p:spPr>
                <a:xfrm>
                  <a:off x="16459200" y="9677400"/>
                  <a:ext cx="7620000" cy="0"/>
                </a:xfrm>
                <a:prstGeom prst="straightConnector1">
                  <a:avLst/>
                </a:prstGeom>
                <a:ln w="38100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" name="Straight Arrow Connector 4"/>
                <p:cNvCxnSpPr/>
                <p:nvPr/>
              </p:nvCxnSpPr>
              <p:spPr>
                <a:xfrm flipV="1">
                  <a:off x="18821400" y="3886200"/>
                  <a:ext cx="0" cy="8534400"/>
                </a:xfrm>
                <a:prstGeom prst="straightConnector1">
                  <a:avLst/>
                </a:prstGeom>
                <a:ln w="57150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/>
                  <p:cNvSpPr txBox="1"/>
                  <p:nvPr/>
                </p:nvSpPr>
                <p:spPr>
                  <a:xfrm>
                    <a:off x="17526000" y="9677399"/>
                    <a:ext cx="16002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𝑶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13" name="TextBox 1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526000" y="9677399"/>
                    <a:ext cx="1600200" cy="754053"/>
                  </a:xfrm>
                  <a:prstGeom prst="rect">
                    <a:avLst/>
                  </a:prstGeom>
                  <a:blipFill rotWithShape="1">
                    <a:blip r:embed="rId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TextBox 14"/>
                  <p:cNvSpPr txBox="1"/>
                  <p:nvPr/>
                </p:nvSpPr>
                <p:spPr>
                  <a:xfrm>
                    <a:off x="22783800" y="9677400"/>
                    <a:ext cx="16002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𝒙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(</m:t>
                          </m:r>
                          <m:r>
                            <a:rPr kumimoji="0" lang="en-US" sz="4300" b="1" i="1" u="none" strike="noStrike" kern="1200" cap="none" spc="0" normalizeH="0" baseline="3000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𝟎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𝑪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)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15" name="TextBox 1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2783800" y="9677400"/>
                    <a:ext cx="1600200" cy="754053"/>
                  </a:xfrm>
                  <a:prstGeom prst="rect">
                    <a:avLst/>
                  </a:prstGeom>
                  <a:blipFill rotWithShape="1">
                    <a:blip r:embed="rId4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Box 15"/>
                  <p:cNvSpPr txBox="1"/>
                  <p:nvPr/>
                </p:nvSpPr>
                <p:spPr>
                  <a:xfrm>
                    <a:off x="17602200" y="3741746"/>
                    <a:ext cx="31750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𝒚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   (</m:t>
                          </m:r>
                          <m:r>
                            <a:rPr kumimoji="0" lang="en-US" sz="4300" b="1" i="1" u="none" strike="noStrike" kern="1200" cap="none" spc="0" normalizeH="0" baseline="3000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𝟎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𝑭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)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16" name="TextBox 15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602200" y="3741746"/>
                    <a:ext cx="3175000" cy="754053"/>
                  </a:xfrm>
                  <a:prstGeom prst="rect">
                    <a:avLst/>
                  </a:prstGeom>
                  <a:blipFill rotWithShape="1"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cxnSp>
        <p:nvCxnSpPr>
          <p:cNvPr id="30" name="Straight Connector 29"/>
          <p:cNvCxnSpPr/>
          <p:nvPr/>
        </p:nvCxnSpPr>
        <p:spPr>
          <a:xfrm flipH="1">
            <a:off x="18376900" y="5775303"/>
            <a:ext cx="2971800" cy="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1348700" y="5775303"/>
            <a:ext cx="0" cy="389017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5122" y="2741211"/>
                <a:ext cx="15486378" cy="10315666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Việc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ổ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iệ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ữ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ơ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 (Anders Celsius, 1701 - 1744)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ơ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F (Daniel Fahrenheit, 1686 – 1736)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ở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ố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ướ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ă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ở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𝟐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ướ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ô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ở 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𝟏𝟎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𝟏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ổ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ứ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𝑶𝒙𝒚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𝒂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𝟏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ỏ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ứ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iê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?</a:t>
                </a:r>
              </a:p>
            </p:txBody>
          </p:sp>
        </mc:Choice>
        <mc:Fallback xmlns="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122" y="2741211"/>
                <a:ext cx="15486378" cy="10315666"/>
              </a:xfrm>
              <a:prstGeom prst="rect">
                <a:avLst/>
              </a:prstGeom>
              <a:blipFill>
                <a:blip r:embed="rId6"/>
                <a:stretch>
                  <a:fillRect l="-1574" r="-66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>
            <a:extLst>
              <a:ext uri="{FF2B5EF4-FFF2-40B4-BE49-F238E27FC236}">
                <a16:creationId xmlns:a16="http://schemas.microsoft.com/office/drawing/2014/main" id="{1BFBDF67-047C-43E1-8575-3E6529841CFC}"/>
              </a:ext>
            </a:extLst>
          </p:cNvPr>
          <p:cNvGrpSpPr/>
          <p:nvPr/>
        </p:nvGrpSpPr>
        <p:grpSpPr>
          <a:xfrm>
            <a:off x="325122" y="1879599"/>
            <a:ext cx="4856478" cy="1188722"/>
            <a:chOff x="22440" y="32106"/>
            <a:chExt cx="913236" cy="281354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D3B95F6-40E3-4005-945B-526B62350160}"/>
                </a:ext>
              </a:extLst>
            </p:cNvPr>
            <p:cNvGrpSpPr/>
            <p:nvPr/>
          </p:nvGrpSpPr>
          <p:grpSpPr>
            <a:xfrm>
              <a:off x="22440" y="59287"/>
              <a:ext cx="850471" cy="159855"/>
              <a:chOff x="31572" y="60276"/>
              <a:chExt cx="1196628" cy="197828"/>
            </a:xfrm>
          </p:grpSpPr>
          <p:sp>
            <p:nvSpPr>
              <p:cNvPr id="10" name="Arrow: Pentagon 9">
                <a:extLst>
                  <a:ext uri="{FF2B5EF4-FFF2-40B4-BE49-F238E27FC236}">
                    <a16:creationId xmlns:a16="http://schemas.microsoft.com/office/drawing/2014/main" id="{D4CDDB00-D580-49B0-BF0B-4B608B07418A}"/>
                  </a:ext>
                </a:extLst>
              </p:cNvPr>
              <p:cNvSpPr/>
              <p:nvPr/>
            </p:nvSpPr>
            <p:spPr>
              <a:xfrm>
                <a:off x="204585" y="62042"/>
                <a:ext cx="1023615" cy="196062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Arrow: Chevron 10">
                <a:extLst>
                  <a:ext uri="{FF2B5EF4-FFF2-40B4-BE49-F238E27FC236}">
                    <a16:creationId xmlns:a16="http://schemas.microsoft.com/office/drawing/2014/main" id="{077F92C8-3D25-4A1C-B9B4-6F87851BCE75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A8A4BA6D-A137-43A5-94F7-7932FFC1BAFE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" name="TextBox 56">
              <a:extLst>
                <a:ext uri="{FF2B5EF4-FFF2-40B4-BE49-F238E27FC236}">
                  <a16:creationId xmlns:a16="http://schemas.microsoft.com/office/drawing/2014/main" id="{7BFE9291-1269-4904-B0E8-D0AEFD7E2754}"/>
                </a:ext>
              </a:extLst>
            </p:cNvPr>
            <p:cNvSpPr txBox="1"/>
            <p:nvPr/>
          </p:nvSpPr>
          <p:spPr>
            <a:xfrm>
              <a:off x="251079" y="32106"/>
              <a:ext cx="684597" cy="281354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ận dụng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18" name="Straight Connector 17"/>
          <p:cNvCxnSpPr/>
          <p:nvPr/>
        </p:nvCxnSpPr>
        <p:spPr>
          <a:xfrm flipV="1">
            <a:off x="16217900" y="5021250"/>
            <a:ext cx="6121400" cy="5046655"/>
          </a:xfrm>
          <a:prstGeom prst="line">
            <a:avLst/>
          </a:pr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17500600" y="7497752"/>
            <a:ext cx="1765300" cy="1131080"/>
            <a:chOff x="17945100" y="7509673"/>
            <a:chExt cx="1765300" cy="1131080"/>
          </a:xfrm>
        </p:grpSpPr>
        <p:sp>
          <p:nvSpPr>
            <p:cNvPr id="20" name="TextBox 19"/>
            <p:cNvSpPr txBox="1"/>
            <p:nvPr/>
          </p:nvSpPr>
          <p:spPr>
            <a:xfrm>
              <a:off x="18605500" y="7886700"/>
              <a:ext cx="11049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sym typeface="Symbol"/>
                </a:rPr>
                <a:t></a:t>
              </a:r>
              <a:endParaRPr kumimoji="0" lang="vi-VN" sz="43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7945100" y="7509673"/>
              <a:ext cx="9144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A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20675600" y="5021250"/>
            <a:ext cx="1562100" cy="1131080"/>
            <a:chOff x="21120100" y="5033171"/>
            <a:chExt cx="1562100" cy="1131080"/>
          </a:xfrm>
        </p:grpSpPr>
        <p:sp>
          <p:nvSpPr>
            <p:cNvPr id="23" name="TextBox 22"/>
            <p:cNvSpPr txBox="1"/>
            <p:nvPr/>
          </p:nvSpPr>
          <p:spPr>
            <a:xfrm>
              <a:off x="21577300" y="5410198"/>
              <a:ext cx="11049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sym typeface="Symbol"/>
                </a:rPr>
                <a:t></a:t>
              </a:r>
              <a:endParaRPr kumimoji="0" lang="vi-VN" sz="43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1120100" y="5033171"/>
              <a:ext cx="9144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B</a:t>
              </a: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18459450" y="8133530"/>
            <a:ext cx="1638300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4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0770850" y="9690878"/>
            <a:ext cx="1638300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4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0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7062450" y="5398277"/>
            <a:ext cx="1638300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</a:rPr>
              <a:t>212</a:t>
            </a:r>
            <a:endParaRPr kumimoji="0" lang="vi-VN" sz="4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54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6" grpId="0"/>
      <p:bldP spid="35" grpId="0"/>
      <p:bldP spid="3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200" y="2666999"/>
                <a:ext cx="14598650" cy="9906001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828800" rtl="0" eaLnBrk="1" fontAlgn="auto" latinLnBrk="0" hangingPunct="1">
                  <a:lnSpc>
                    <a:spcPct val="9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457200" marR="0" lvl="0" indent="-45720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𝟏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𝑨𝑩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𝟖𝟎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𝟗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𝟓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𝟗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𝟏𝟔𝟎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457200" marR="0" lvl="0" indent="-45720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ứ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𝟏𝟔𝟎</m:t>
                            </m:r>
                          </m:num>
                          <m:den>
                            <m: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𝟗</m:t>
                            </m:r>
                          </m:den>
                        </m:f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f>
                          <m:f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𝟑𝟒𝟎</m:t>
                            </m:r>
                          </m:num>
                          <m:den>
                            <m: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𝟗</m:t>
                            </m:r>
                          </m:den>
                        </m:f>
                      </m:e>
                      <m:sup>
                        <m:r>
                          <a:rPr kumimoji="0" lang="en-US" sz="4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" y="2666999"/>
                <a:ext cx="14598650" cy="9906001"/>
              </a:xfrm>
              <a:prstGeom prst="rect">
                <a:avLst/>
              </a:prstGeom>
              <a:blipFill>
                <a:blip r:embed="rId3"/>
                <a:stretch>
                  <a:fillRect l="-1503" t="-1905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8B49A2E-2A9D-46FD-AE9C-29462A33F0E6}"/>
              </a:ext>
            </a:extLst>
          </p:cNvPr>
          <p:cNvSpPr txBox="1">
            <a:spLocks/>
          </p:cNvSpPr>
          <p:nvPr/>
        </p:nvSpPr>
        <p:spPr>
          <a:xfrm>
            <a:off x="15176500" y="2667000"/>
            <a:ext cx="8578705" cy="9906000"/>
          </a:xfrm>
          <a:prstGeom prst="rect">
            <a:avLst/>
          </a:prstGeom>
          <a:solidFill>
            <a:srgbClr val="D6F7FE"/>
          </a:solidFill>
          <a:ln>
            <a:solidFill>
              <a:srgbClr val="00B0F0"/>
            </a:solidFill>
          </a:ln>
        </p:spPr>
        <p:txBody>
          <a:bodyPr/>
          <a:lstStyle>
            <a:lvl1pPr marL="4572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1pPr>
            <a:lvl2pPr marL="1371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2pPr>
            <a:lvl3pPr marL="2286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3pPr>
            <a:lvl4pPr marL="3200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omaho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5176500" y="3659446"/>
            <a:ext cx="7924800" cy="8678854"/>
            <a:chOff x="16014700" y="3729825"/>
            <a:chExt cx="7924800" cy="8678854"/>
          </a:xfrm>
        </p:grpSpPr>
        <p:grpSp>
          <p:nvGrpSpPr>
            <p:cNvPr id="21" name="Group 20"/>
            <p:cNvGrpSpPr/>
            <p:nvPr/>
          </p:nvGrpSpPr>
          <p:grpSpPr>
            <a:xfrm>
              <a:off x="16014700" y="3729825"/>
              <a:ext cx="7924800" cy="8678854"/>
              <a:chOff x="16459200" y="3741746"/>
              <a:chExt cx="7924800" cy="8678854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16459200" y="3886200"/>
                <a:ext cx="7620000" cy="8534400"/>
                <a:chOff x="16459200" y="3886200"/>
                <a:chExt cx="7620000" cy="8534400"/>
              </a:xfrm>
            </p:grpSpPr>
            <p:cxnSp>
              <p:nvCxnSpPr>
                <p:cNvPr id="26" name="Straight Arrow Connector 25"/>
                <p:cNvCxnSpPr/>
                <p:nvPr/>
              </p:nvCxnSpPr>
              <p:spPr>
                <a:xfrm>
                  <a:off x="16459200" y="9677400"/>
                  <a:ext cx="7620000" cy="0"/>
                </a:xfrm>
                <a:prstGeom prst="straightConnector1">
                  <a:avLst/>
                </a:prstGeom>
                <a:ln w="38100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26"/>
                <p:cNvCxnSpPr/>
                <p:nvPr/>
              </p:nvCxnSpPr>
              <p:spPr>
                <a:xfrm flipV="1">
                  <a:off x="18821400" y="3886200"/>
                  <a:ext cx="0" cy="8534400"/>
                </a:xfrm>
                <a:prstGeom prst="straightConnector1">
                  <a:avLst/>
                </a:prstGeom>
                <a:ln w="57150"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3" name="TextBox 22"/>
                  <p:cNvSpPr txBox="1"/>
                  <p:nvPr/>
                </p:nvSpPr>
                <p:spPr>
                  <a:xfrm>
                    <a:off x="17526000" y="9677399"/>
                    <a:ext cx="16002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𝑶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23" name="TextBox 2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526000" y="9677399"/>
                    <a:ext cx="1600200" cy="754053"/>
                  </a:xfrm>
                  <a:prstGeom prst="rect">
                    <a:avLst/>
                  </a:prstGeom>
                  <a:blipFill rotWithShape="1">
                    <a:blip r:embed="rId4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22783800" y="9677400"/>
                    <a:ext cx="16002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𝒙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(</m:t>
                          </m:r>
                          <m:r>
                            <a:rPr kumimoji="0" lang="en-US" sz="4300" b="1" i="1" u="none" strike="noStrike" kern="1200" cap="none" spc="0" normalizeH="0" baseline="3000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𝟎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𝑪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)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24" name="TextBox 2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22783800" y="9677400"/>
                    <a:ext cx="1600200" cy="754053"/>
                  </a:xfrm>
                  <a:prstGeom prst="rect">
                    <a:avLst/>
                  </a:prstGeom>
                  <a:blipFill rotWithShape="1"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5" name="TextBox 24"/>
                  <p:cNvSpPr txBox="1"/>
                  <p:nvPr/>
                </p:nvSpPr>
                <p:spPr>
                  <a:xfrm>
                    <a:off x="17602200" y="3741746"/>
                    <a:ext cx="3175000" cy="7540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𝒚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   (</m:t>
                          </m:r>
                          <m:r>
                            <a:rPr kumimoji="0" lang="en-US" sz="4300" b="1" i="1" u="none" strike="noStrike" kern="1200" cap="none" spc="0" normalizeH="0" baseline="3000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𝟎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 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𝑭</m:t>
                          </m:r>
                          <m:r>
                            <a:rPr kumimoji="0" lang="en-US" sz="4300" b="1" i="1" u="none" strike="noStrike" kern="1200" cap="none" spc="0" normalizeH="0" baseline="0" noProof="0" dirty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)</m:t>
                          </m:r>
                        </m:oMath>
                      </m:oMathPara>
                    </a14:m>
                    <a:endParaRPr kumimoji="0" lang="vi-VN" sz="4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25" name="TextBox 2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7602200" y="3741746"/>
                    <a:ext cx="3175000" cy="754053"/>
                  </a:xfrm>
                  <a:prstGeom prst="rect">
                    <a:avLst/>
                  </a:prstGeom>
                  <a:blipFill rotWithShape="1"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vi-VN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cxnSp>
          <p:nvCxnSpPr>
            <p:cNvPr id="8" name="Straight Connector 7"/>
            <p:cNvCxnSpPr/>
            <p:nvPr/>
          </p:nvCxnSpPr>
          <p:spPr>
            <a:xfrm flipH="1">
              <a:off x="18376900" y="5775303"/>
              <a:ext cx="2971800" cy="1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1348700" y="5775303"/>
              <a:ext cx="0" cy="3890175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16217900" y="5021250"/>
              <a:ext cx="6121400" cy="5046655"/>
            </a:xfrm>
            <a:prstGeom prst="line">
              <a:avLst/>
            </a:prstGeom>
            <a:ln w="762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/>
            <p:cNvGrpSpPr/>
            <p:nvPr/>
          </p:nvGrpSpPr>
          <p:grpSpPr>
            <a:xfrm>
              <a:off x="17500600" y="7497752"/>
              <a:ext cx="1765300" cy="1131080"/>
              <a:chOff x="17945100" y="7509673"/>
              <a:chExt cx="1765300" cy="1131080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18605500" y="7886700"/>
                <a:ext cx="1104900" cy="7540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  <a:sym typeface="Symbol"/>
                  </a:rPr>
                  <a:t></a:t>
                </a:r>
                <a:endPara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17945100" y="7509673"/>
                <a:ext cx="914400" cy="7540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A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20675600" y="5021250"/>
              <a:ext cx="1562100" cy="1131080"/>
              <a:chOff x="21120100" y="5033171"/>
              <a:chExt cx="1562100" cy="1131080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21577300" y="5410198"/>
                <a:ext cx="1104900" cy="7540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  <a:sym typeface="Symbol"/>
                  </a:rPr>
                  <a:t></a:t>
                </a:r>
                <a:endPara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1120100" y="5033171"/>
                <a:ext cx="914400" cy="7540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B</a:t>
                </a:r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18459450" y="8133530"/>
              <a:ext cx="16383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32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0770850" y="9690878"/>
              <a:ext cx="16383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vi-VN" sz="4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00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7062450" y="5398277"/>
              <a:ext cx="1638300" cy="7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solidFill>
                    <a:prstClr val="black"/>
                  </a:solidFill>
                  <a:latin typeface="Arial" panose="020B0604020202020204" pitchFamily="34" charset="0"/>
                </a:rPr>
                <a:t>212</a:t>
              </a:r>
              <a:endParaRPr kumimoji="0" lang="vi-VN" sz="4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24839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200" y="2666999"/>
                <a:ext cx="14598650" cy="9906001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828800" rtl="0" eaLnBrk="1" fontAlgn="auto" latinLnBrk="0" hangingPunct="1">
                  <a:lnSpc>
                    <a:spcPct val="9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457200" marR="0" lvl="0" indent="-45720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𝟏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𝑨𝑩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𝟖𝟎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𝟗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𝟓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𝟗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𝟏𝟔𝟎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kumimoji="0" lang="en-US" sz="4400" b="1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457200" marR="0" lvl="0" indent="-457200" algn="l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𝟎𝟎</m:t>
                        </m:r>
                      </m:e>
                      <m:sup>
                        <m:r>
                          <a:rPr kumimoji="0" lang="en-US" sz="4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𝐅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ứ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𝟏𝟔𝟎</m:t>
                            </m:r>
                          </m:num>
                          <m:den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𝟗</m:t>
                            </m:r>
                          </m:den>
                        </m:f>
                      </m:e>
                      <m:sup>
                        <m:r>
                          <a:rPr kumimoji="0" lang="en-US" sz="4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sSup>
                      <m:sSupPr>
                        <m:ctrlP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f>
                          <m:f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𝟑𝟒𝟎</m:t>
                            </m:r>
                          </m:num>
                          <m:den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𝟗</m:t>
                            </m:r>
                          </m:den>
                        </m:f>
                      </m:e>
                      <m:sup>
                        <m:r>
                          <a:rPr kumimoji="0" lang="en-US" sz="4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" y="2666999"/>
                <a:ext cx="14598650" cy="9906001"/>
              </a:xfrm>
              <a:prstGeom prst="rect">
                <a:avLst/>
              </a:prstGeom>
              <a:blipFill>
                <a:blip r:embed="rId3"/>
                <a:stretch>
                  <a:fillRect l="-1503" t="-1905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8B49A2E-2A9D-46FD-AE9C-29462A33F0E6}"/>
              </a:ext>
            </a:extLst>
          </p:cNvPr>
          <p:cNvSpPr txBox="1">
            <a:spLocks/>
          </p:cNvSpPr>
          <p:nvPr/>
        </p:nvSpPr>
        <p:spPr>
          <a:xfrm>
            <a:off x="15176500" y="2667000"/>
            <a:ext cx="8578705" cy="9906000"/>
          </a:xfrm>
          <a:prstGeom prst="rect">
            <a:avLst/>
          </a:prstGeom>
          <a:solidFill>
            <a:srgbClr val="D6F7FE"/>
          </a:solidFill>
          <a:ln>
            <a:solidFill>
              <a:srgbClr val="00B0F0"/>
            </a:solidFill>
          </a:ln>
        </p:spPr>
        <p:txBody>
          <a:bodyPr/>
          <a:lstStyle>
            <a:lvl1pPr marL="4572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1pPr>
            <a:lvl2pPr marL="1371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2pPr>
            <a:lvl3pPr marL="2286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3pPr>
            <a:lvl4pPr marL="3200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Tomaho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omaho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560DFE3-4109-4C23-BA1A-26ED99B6C1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1154" y="3657600"/>
            <a:ext cx="8069395" cy="762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33858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A73C2D5-CA9B-47BC-9AD0-ECA015C1C325}"/>
              </a:ext>
            </a:extLst>
          </p:cNvPr>
          <p:cNvGrpSpPr/>
          <p:nvPr/>
        </p:nvGrpSpPr>
        <p:grpSpPr>
          <a:xfrm>
            <a:off x="839679" y="5486579"/>
            <a:ext cx="22172722" cy="2701196"/>
            <a:chOff x="839787" y="6087168"/>
            <a:chExt cx="22175609" cy="2701548"/>
          </a:xfrm>
        </p:grpSpPr>
        <p:sp>
          <p:nvSpPr>
            <p:cNvPr id="3" name="Freeform 71">
              <a:extLst>
                <a:ext uri="{FF2B5EF4-FFF2-40B4-BE49-F238E27FC236}">
                  <a16:creationId xmlns:a16="http://schemas.microsoft.com/office/drawing/2014/main" id="{E1DE1FB5-671A-4611-8EE8-31248E438454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16460787" y="8381999"/>
              <a:ext cx="6551512" cy="406715"/>
            </a:xfrm>
            <a:prstGeom prst="rect">
              <a:avLst/>
            </a:prstGeom>
            <a:solidFill>
              <a:srgbClr val="B9E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71">
              <a:extLst>
                <a:ext uri="{FF2B5EF4-FFF2-40B4-BE49-F238E27FC236}">
                  <a16:creationId xmlns:a16="http://schemas.microsoft.com/office/drawing/2014/main" id="{1E70EDEF-46E1-429A-B86A-3AB2597BC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7" y="7614323"/>
              <a:ext cx="19585088" cy="1174393"/>
            </a:xfrm>
            <a:custGeom>
              <a:avLst/>
              <a:gdLst>
                <a:gd name="T0" fmla="*/ 1849 w 1857"/>
                <a:gd name="T1" fmla="*/ 72 h 111"/>
                <a:gd name="T2" fmla="*/ 376 w 1857"/>
                <a:gd name="T3" fmla="*/ 72 h 111"/>
                <a:gd name="T4" fmla="*/ 360 w 1857"/>
                <a:gd name="T5" fmla="*/ 52 h 111"/>
                <a:gd name="T6" fmla="*/ 374 w 1857"/>
                <a:gd name="T7" fmla="*/ 20 h 111"/>
                <a:gd name="T8" fmla="*/ 366 w 1857"/>
                <a:gd name="T9" fmla="*/ 0 h 111"/>
                <a:gd name="T10" fmla="*/ 85 w 1857"/>
                <a:gd name="T11" fmla="*/ 0 h 111"/>
                <a:gd name="T12" fmla="*/ 53 w 1857"/>
                <a:gd name="T13" fmla="*/ 20 h 111"/>
                <a:gd name="T14" fmla="*/ 6 w 1857"/>
                <a:gd name="T15" fmla="*/ 91 h 111"/>
                <a:gd name="T16" fmla="*/ 15 w 1857"/>
                <a:gd name="T17" fmla="*/ 111 h 111"/>
                <a:gd name="T18" fmla="*/ 199 w 1857"/>
                <a:gd name="T19" fmla="*/ 111 h 111"/>
                <a:gd name="T20" fmla="*/ 296 w 1857"/>
                <a:gd name="T21" fmla="*/ 111 h 111"/>
                <a:gd name="T22" fmla="*/ 1849 w 1857"/>
                <a:gd name="T23" fmla="*/ 111 h 111"/>
                <a:gd name="T24" fmla="*/ 1857 w 1857"/>
                <a:gd name="T25" fmla="*/ 103 h 111"/>
                <a:gd name="T26" fmla="*/ 1857 w 1857"/>
                <a:gd name="T27" fmla="*/ 81 h 111"/>
                <a:gd name="T28" fmla="*/ 1849 w 1857"/>
                <a:gd name="T29" fmla="*/ 7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57" h="111">
                  <a:moveTo>
                    <a:pt x="1849" y="72"/>
                  </a:moveTo>
                  <a:cubicBezTo>
                    <a:pt x="1849" y="72"/>
                    <a:pt x="423" y="72"/>
                    <a:pt x="376" y="72"/>
                  </a:cubicBezTo>
                  <a:cubicBezTo>
                    <a:pt x="350" y="72"/>
                    <a:pt x="355" y="63"/>
                    <a:pt x="360" y="52"/>
                  </a:cubicBezTo>
                  <a:cubicBezTo>
                    <a:pt x="365" y="40"/>
                    <a:pt x="374" y="20"/>
                    <a:pt x="374" y="20"/>
                  </a:cubicBezTo>
                  <a:cubicBezTo>
                    <a:pt x="381" y="9"/>
                    <a:pt x="377" y="0"/>
                    <a:pt x="366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74" y="0"/>
                    <a:pt x="59" y="9"/>
                    <a:pt x="53" y="20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0" y="102"/>
                    <a:pt x="4" y="111"/>
                    <a:pt x="15" y="111"/>
                  </a:cubicBezTo>
                  <a:cubicBezTo>
                    <a:pt x="199" y="111"/>
                    <a:pt x="199" y="111"/>
                    <a:pt x="199" y="111"/>
                  </a:cubicBezTo>
                  <a:cubicBezTo>
                    <a:pt x="296" y="111"/>
                    <a:pt x="296" y="111"/>
                    <a:pt x="296" y="111"/>
                  </a:cubicBezTo>
                  <a:cubicBezTo>
                    <a:pt x="1849" y="111"/>
                    <a:pt x="1849" y="111"/>
                    <a:pt x="1849" y="111"/>
                  </a:cubicBezTo>
                  <a:cubicBezTo>
                    <a:pt x="1853" y="111"/>
                    <a:pt x="1857" y="107"/>
                    <a:pt x="1857" y="103"/>
                  </a:cubicBezTo>
                  <a:cubicBezTo>
                    <a:pt x="1857" y="81"/>
                    <a:pt x="1857" y="81"/>
                    <a:pt x="1857" y="81"/>
                  </a:cubicBezTo>
                  <a:cubicBezTo>
                    <a:pt x="1857" y="76"/>
                    <a:pt x="1853" y="72"/>
                    <a:pt x="1849" y="72"/>
                  </a:cubicBezTo>
                  <a:close/>
                </a:path>
              </a:pathLst>
            </a:custGeom>
            <a:solidFill>
              <a:srgbClr val="B9E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Oval 72">
              <a:extLst>
                <a:ext uri="{FF2B5EF4-FFF2-40B4-BE49-F238E27FC236}">
                  <a16:creationId xmlns:a16="http://schemas.microsoft.com/office/drawing/2014/main" id="{061809A4-DFA0-48FD-A9B1-C4C761DE35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1467" y="6087168"/>
              <a:ext cx="803766" cy="790373"/>
            </a:xfrm>
            <a:prstGeom prst="ellipse">
              <a:avLst/>
            </a:pr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3">
              <a:extLst>
                <a:ext uri="{FF2B5EF4-FFF2-40B4-BE49-F238E27FC236}">
                  <a16:creationId xmlns:a16="http://schemas.microsoft.com/office/drawing/2014/main" id="{8A17BDFD-C5E8-4E1C-915C-5CFAC4A88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524" y="6815024"/>
              <a:ext cx="589429" cy="535844"/>
            </a:xfrm>
            <a:custGeom>
              <a:avLst/>
              <a:gdLst>
                <a:gd name="T0" fmla="*/ 0 w 56"/>
                <a:gd name="T1" fmla="*/ 18 h 51"/>
                <a:gd name="T2" fmla="*/ 45 w 56"/>
                <a:gd name="T3" fmla="*/ 10 h 51"/>
                <a:gd name="T4" fmla="*/ 56 w 56"/>
                <a:gd name="T5" fmla="*/ 12 h 51"/>
                <a:gd name="T6" fmla="*/ 56 w 56"/>
                <a:gd name="T7" fmla="*/ 51 h 51"/>
                <a:gd name="T8" fmla="*/ 0 w 56"/>
                <a:gd name="T9" fmla="*/ 1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1">
                  <a:moveTo>
                    <a:pt x="0" y="18"/>
                  </a:moveTo>
                  <a:cubicBezTo>
                    <a:pt x="0" y="18"/>
                    <a:pt x="17" y="0"/>
                    <a:pt x="45" y="10"/>
                  </a:cubicBezTo>
                  <a:cubicBezTo>
                    <a:pt x="51" y="12"/>
                    <a:pt x="52" y="12"/>
                    <a:pt x="56" y="12"/>
                  </a:cubicBezTo>
                  <a:cubicBezTo>
                    <a:pt x="55" y="30"/>
                    <a:pt x="56" y="51"/>
                    <a:pt x="56" y="51"/>
                  </a:cubicBezTo>
                  <a:cubicBezTo>
                    <a:pt x="56" y="51"/>
                    <a:pt x="30" y="24"/>
                    <a:pt x="0" y="18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4">
              <a:extLst>
                <a:ext uri="{FF2B5EF4-FFF2-40B4-BE49-F238E27FC236}">
                  <a16:creationId xmlns:a16="http://schemas.microsoft.com/office/drawing/2014/main" id="{E741B86F-E7B9-4220-8DE8-16F61058D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524" y="6815024"/>
              <a:ext cx="589429" cy="535844"/>
            </a:xfrm>
            <a:custGeom>
              <a:avLst/>
              <a:gdLst>
                <a:gd name="T0" fmla="*/ 0 w 56"/>
                <a:gd name="T1" fmla="*/ 18 h 51"/>
                <a:gd name="T2" fmla="*/ 39 w 56"/>
                <a:gd name="T3" fmla="*/ 8 h 51"/>
                <a:gd name="T4" fmla="*/ 56 w 56"/>
                <a:gd name="T5" fmla="*/ 11 h 51"/>
                <a:gd name="T6" fmla="*/ 56 w 56"/>
                <a:gd name="T7" fmla="*/ 51 h 51"/>
                <a:gd name="T8" fmla="*/ 0 w 56"/>
                <a:gd name="T9" fmla="*/ 1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1">
                  <a:moveTo>
                    <a:pt x="0" y="18"/>
                  </a:moveTo>
                  <a:cubicBezTo>
                    <a:pt x="0" y="18"/>
                    <a:pt x="10" y="0"/>
                    <a:pt x="39" y="8"/>
                  </a:cubicBezTo>
                  <a:cubicBezTo>
                    <a:pt x="48" y="11"/>
                    <a:pt x="52" y="11"/>
                    <a:pt x="56" y="11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6" y="51"/>
                    <a:pt x="30" y="24"/>
                    <a:pt x="0" y="18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5">
              <a:extLst>
                <a:ext uri="{FF2B5EF4-FFF2-40B4-BE49-F238E27FC236}">
                  <a16:creationId xmlns:a16="http://schemas.microsoft.com/office/drawing/2014/main" id="{A09A0D33-4C85-476E-BFFE-F1FD8CCE4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524" y="6815024"/>
              <a:ext cx="589429" cy="535844"/>
            </a:xfrm>
            <a:custGeom>
              <a:avLst/>
              <a:gdLst>
                <a:gd name="T0" fmla="*/ 0 w 56"/>
                <a:gd name="T1" fmla="*/ 18 h 51"/>
                <a:gd name="T2" fmla="*/ 39 w 56"/>
                <a:gd name="T3" fmla="*/ 8 h 51"/>
                <a:gd name="T4" fmla="*/ 56 w 56"/>
                <a:gd name="T5" fmla="*/ 11 h 51"/>
                <a:gd name="T6" fmla="*/ 56 w 56"/>
                <a:gd name="T7" fmla="*/ 51 h 51"/>
                <a:gd name="T8" fmla="*/ 0 w 56"/>
                <a:gd name="T9" fmla="*/ 1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1">
                  <a:moveTo>
                    <a:pt x="0" y="18"/>
                  </a:moveTo>
                  <a:cubicBezTo>
                    <a:pt x="0" y="18"/>
                    <a:pt x="10" y="0"/>
                    <a:pt x="39" y="8"/>
                  </a:cubicBezTo>
                  <a:cubicBezTo>
                    <a:pt x="48" y="11"/>
                    <a:pt x="52" y="11"/>
                    <a:pt x="56" y="11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6" y="51"/>
                    <a:pt x="30" y="24"/>
                    <a:pt x="0" y="18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6">
              <a:extLst>
                <a:ext uri="{FF2B5EF4-FFF2-40B4-BE49-F238E27FC236}">
                  <a16:creationId xmlns:a16="http://schemas.microsoft.com/office/drawing/2014/main" id="{DDAC5A5E-FBC2-42F3-A656-E3FDFB130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0524" y="6815024"/>
              <a:ext cx="1169926" cy="535844"/>
            </a:xfrm>
            <a:custGeom>
              <a:avLst/>
              <a:gdLst>
                <a:gd name="T0" fmla="*/ 72 w 111"/>
                <a:gd name="T1" fmla="*/ 8 h 51"/>
                <a:gd name="T2" fmla="*/ 56 w 111"/>
                <a:gd name="T3" fmla="*/ 11 h 51"/>
                <a:gd name="T4" fmla="*/ 39 w 111"/>
                <a:gd name="T5" fmla="*/ 8 h 51"/>
                <a:gd name="T6" fmla="*/ 0 w 111"/>
                <a:gd name="T7" fmla="*/ 18 h 51"/>
                <a:gd name="T8" fmla="*/ 56 w 111"/>
                <a:gd name="T9" fmla="*/ 51 h 51"/>
                <a:gd name="T10" fmla="*/ 111 w 111"/>
                <a:gd name="T11" fmla="*/ 18 h 51"/>
                <a:gd name="T12" fmla="*/ 72 w 111"/>
                <a:gd name="T13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72" y="8"/>
                  </a:moveTo>
                  <a:cubicBezTo>
                    <a:pt x="63" y="11"/>
                    <a:pt x="59" y="11"/>
                    <a:pt x="56" y="11"/>
                  </a:cubicBezTo>
                  <a:cubicBezTo>
                    <a:pt x="52" y="11"/>
                    <a:pt x="48" y="11"/>
                    <a:pt x="39" y="8"/>
                  </a:cubicBezTo>
                  <a:cubicBezTo>
                    <a:pt x="10" y="0"/>
                    <a:pt x="0" y="18"/>
                    <a:pt x="0" y="18"/>
                  </a:cubicBezTo>
                  <a:cubicBezTo>
                    <a:pt x="30" y="24"/>
                    <a:pt x="56" y="51"/>
                    <a:pt x="56" y="51"/>
                  </a:cubicBezTo>
                  <a:cubicBezTo>
                    <a:pt x="56" y="51"/>
                    <a:pt x="82" y="24"/>
                    <a:pt x="111" y="18"/>
                  </a:cubicBezTo>
                  <a:cubicBezTo>
                    <a:pt x="111" y="18"/>
                    <a:pt x="101" y="0"/>
                    <a:pt x="72" y="8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7">
              <a:extLst>
                <a:ext uri="{FF2B5EF4-FFF2-40B4-BE49-F238E27FC236}">
                  <a16:creationId xmlns:a16="http://schemas.microsoft.com/office/drawing/2014/main" id="{C2BB2173-F867-4E7A-8E0E-8B9F2F13E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0654" y="7038293"/>
              <a:ext cx="1594133" cy="495658"/>
            </a:xfrm>
            <a:custGeom>
              <a:avLst/>
              <a:gdLst>
                <a:gd name="T0" fmla="*/ 142 w 151"/>
                <a:gd name="T1" fmla="*/ 1 h 47"/>
                <a:gd name="T2" fmla="*/ 76 w 151"/>
                <a:gd name="T3" fmla="*/ 40 h 47"/>
                <a:gd name="T4" fmla="*/ 10 w 151"/>
                <a:gd name="T5" fmla="*/ 1 h 47"/>
                <a:gd name="T6" fmla="*/ 0 w 151"/>
                <a:gd name="T7" fmla="*/ 7 h 47"/>
                <a:gd name="T8" fmla="*/ 72 w 151"/>
                <a:gd name="T9" fmla="*/ 47 h 47"/>
                <a:gd name="T10" fmla="*/ 76 w 151"/>
                <a:gd name="T11" fmla="*/ 47 h 47"/>
                <a:gd name="T12" fmla="*/ 79 w 151"/>
                <a:gd name="T13" fmla="*/ 47 h 47"/>
                <a:gd name="T14" fmla="*/ 151 w 151"/>
                <a:gd name="T15" fmla="*/ 7 h 47"/>
                <a:gd name="T16" fmla="*/ 142 w 151"/>
                <a:gd name="T17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47">
                  <a:moveTo>
                    <a:pt x="142" y="1"/>
                  </a:moveTo>
                  <a:cubicBezTo>
                    <a:pt x="116" y="7"/>
                    <a:pt x="76" y="40"/>
                    <a:pt x="76" y="40"/>
                  </a:cubicBezTo>
                  <a:cubicBezTo>
                    <a:pt x="76" y="40"/>
                    <a:pt x="36" y="7"/>
                    <a:pt x="10" y="1"/>
                  </a:cubicBezTo>
                  <a:cubicBezTo>
                    <a:pt x="3" y="0"/>
                    <a:pt x="0" y="6"/>
                    <a:pt x="0" y="7"/>
                  </a:cubicBezTo>
                  <a:cubicBezTo>
                    <a:pt x="8" y="11"/>
                    <a:pt x="18" y="4"/>
                    <a:pt x="72" y="47"/>
                  </a:cubicBezTo>
                  <a:cubicBezTo>
                    <a:pt x="73" y="47"/>
                    <a:pt x="76" y="47"/>
                    <a:pt x="76" y="47"/>
                  </a:cubicBezTo>
                  <a:cubicBezTo>
                    <a:pt x="76" y="47"/>
                    <a:pt x="77" y="47"/>
                    <a:pt x="79" y="47"/>
                  </a:cubicBezTo>
                  <a:cubicBezTo>
                    <a:pt x="132" y="4"/>
                    <a:pt x="143" y="11"/>
                    <a:pt x="151" y="7"/>
                  </a:cubicBezTo>
                  <a:cubicBezTo>
                    <a:pt x="151" y="6"/>
                    <a:pt x="148" y="0"/>
                    <a:pt x="142" y="1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8">
              <a:extLst>
                <a:ext uri="{FF2B5EF4-FFF2-40B4-BE49-F238E27FC236}">
                  <a16:creationId xmlns:a16="http://schemas.microsoft.com/office/drawing/2014/main" id="{81E049EF-5FCC-4AF7-BFB8-237632719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349" y="7194577"/>
              <a:ext cx="861815" cy="1330678"/>
            </a:xfrm>
            <a:custGeom>
              <a:avLst/>
              <a:gdLst>
                <a:gd name="T0" fmla="*/ 0 w 82"/>
                <a:gd name="T1" fmla="*/ 40 h 126"/>
                <a:gd name="T2" fmla="*/ 8 w 82"/>
                <a:gd name="T3" fmla="*/ 40 h 126"/>
                <a:gd name="T4" fmla="*/ 68 w 82"/>
                <a:gd name="T5" fmla="*/ 0 h 126"/>
                <a:gd name="T6" fmla="*/ 82 w 82"/>
                <a:gd name="T7" fmla="*/ 0 h 126"/>
                <a:gd name="T8" fmla="*/ 75 w 82"/>
                <a:gd name="T9" fmla="*/ 89 h 126"/>
                <a:gd name="T10" fmla="*/ 8 w 82"/>
                <a:gd name="T11" fmla="*/ 126 h 126"/>
                <a:gd name="T12" fmla="*/ 0 w 82"/>
                <a:gd name="T13" fmla="*/ 126 h 126"/>
                <a:gd name="T14" fmla="*/ 0 w 82"/>
                <a:gd name="T15" fmla="*/ 40 h 126"/>
                <a:gd name="T16" fmla="*/ 0 w 82"/>
                <a:gd name="T17" fmla="*/ 4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26">
                  <a:moveTo>
                    <a:pt x="0" y="40"/>
                  </a:move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37" y="9"/>
                    <a:pt x="68" y="0"/>
                  </a:cubicBezTo>
                  <a:cubicBezTo>
                    <a:pt x="71" y="0"/>
                    <a:pt x="82" y="0"/>
                    <a:pt x="82" y="0"/>
                  </a:cubicBezTo>
                  <a:cubicBezTo>
                    <a:pt x="82" y="0"/>
                    <a:pt x="75" y="71"/>
                    <a:pt x="75" y="89"/>
                  </a:cubicBezTo>
                  <a:cubicBezTo>
                    <a:pt x="68" y="89"/>
                    <a:pt x="40" y="90"/>
                    <a:pt x="8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9">
              <a:extLst>
                <a:ext uri="{FF2B5EF4-FFF2-40B4-BE49-F238E27FC236}">
                  <a16:creationId xmlns:a16="http://schemas.microsoft.com/office/drawing/2014/main" id="{13AE2C48-248E-44C5-9188-340518D57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8137" y="7194577"/>
              <a:ext cx="1737027" cy="1330678"/>
            </a:xfrm>
            <a:custGeom>
              <a:avLst/>
              <a:gdLst>
                <a:gd name="T0" fmla="*/ 151 w 165"/>
                <a:gd name="T1" fmla="*/ 0 h 126"/>
                <a:gd name="T2" fmla="*/ 91 w 165"/>
                <a:gd name="T3" fmla="*/ 40 h 126"/>
                <a:gd name="T4" fmla="*/ 84 w 165"/>
                <a:gd name="T5" fmla="*/ 40 h 126"/>
                <a:gd name="T6" fmla="*/ 81 w 165"/>
                <a:gd name="T7" fmla="*/ 40 h 126"/>
                <a:gd name="T8" fmla="*/ 75 w 165"/>
                <a:gd name="T9" fmla="*/ 40 h 126"/>
                <a:gd name="T10" fmla="*/ 16 w 165"/>
                <a:gd name="T11" fmla="*/ 0 h 126"/>
                <a:gd name="T12" fmla="*/ 0 w 165"/>
                <a:gd name="T13" fmla="*/ 0 h 126"/>
                <a:gd name="T14" fmla="*/ 9 w 165"/>
                <a:gd name="T15" fmla="*/ 89 h 126"/>
                <a:gd name="T16" fmla="*/ 75 w 165"/>
                <a:gd name="T17" fmla="*/ 126 h 126"/>
                <a:gd name="T18" fmla="*/ 83 w 165"/>
                <a:gd name="T19" fmla="*/ 126 h 126"/>
                <a:gd name="T20" fmla="*/ 91 w 165"/>
                <a:gd name="T21" fmla="*/ 126 h 126"/>
                <a:gd name="T22" fmla="*/ 158 w 165"/>
                <a:gd name="T23" fmla="*/ 89 h 126"/>
                <a:gd name="T24" fmla="*/ 165 w 165"/>
                <a:gd name="T25" fmla="*/ 0 h 126"/>
                <a:gd name="T26" fmla="*/ 151 w 165"/>
                <a:gd name="T2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5" h="126">
                  <a:moveTo>
                    <a:pt x="151" y="0"/>
                  </a:moveTo>
                  <a:cubicBezTo>
                    <a:pt x="120" y="9"/>
                    <a:pt x="91" y="40"/>
                    <a:pt x="91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46" y="9"/>
                    <a:pt x="16" y="0"/>
                  </a:cubicBezTo>
                  <a:cubicBezTo>
                    <a:pt x="12" y="0"/>
                    <a:pt x="0" y="0"/>
                    <a:pt x="0" y="0"/>
                  </a:cubicBezTo>
                  <a:cubicBezTo>
                    <a:pt x="0" y="0"/>
                    <a:pt x="9" y="71"/>
                    <a:pt x="9" y="89"/>
                  </a:cubicBezTo>
                  <a:cubicBezTo>
                    <a:pt x="14" y="89"/>
                    <a:pt x="43" y="90"/>
                    <a:pt x="75" y="126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3" y="126"/>
                    <a:pt x="83" y="126"/>
                    <a:pt x="91" y="126"/>
                  </a:cubicBezTo>
                  <a:cubicBezTo>
                    <a:pt x="123" y="90"/>
                    <a:pt x="151" y="89"/>
                    <a:pt x="158" y="89"/>
                  </a:cubicBezTo>
                  <a:cubicBezTo>
                    <a:pt x="158" y="71"/>
                    <a:pt x="165" y="0"/>
                    <a:pt x="165" y="0"/>
                  </a:cubicBezTo>
                  <a:cubicBezTo>
                    <a:pt x="165" y="0"/>
                    <a:pt x="154" y="0"/>
                    <a:pt x="151" y="0"/>
                  </a:cubicBez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0">
              <a:extLst>
                <a:ext uri="{FF2B5EF4-FFF2-40B4-BE49-F238E27FC236}">
                  <a16:creationId xmlns:a16="http://schemas.microsoft.com/office/drawing/2014/main" id="{C7094C98-BEEA-438E-99C0-6AA683EC0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349" y="7614323"/>
              <a:ext cx="84842" cy="910936"/>
            </a:xfrm>
            <a:custGeom>
              <a:avLst/>
              <a:gdLst>
                <a:gd name="T0" fmla="*/ 0 w 19"/>
                <a:gd name="T1" fmla="*/ 204 h 204"/>
                <a:gd name="T2" fmla="*/ 0 w 19"/>
                <a:gd name="T3" fmla="*/ 0 h 204"/>
                <a:gd name="T4" fmla="*/ 19 w 19"/>
                <a:gd name="T5" fmla="*/ 0 h 204"/>
                <a:gd name="T6" fmla="*/ 0 w 19"/>
                <a:gd name="T7" fmla="*/ 204 h 204"/>
                <a:gd name="T8" fmla="*/ 0 w 19"/>
                <a:gd name="T9" fmla="*/ 204 h 204"/>
                <a:gd name="T10" fmla="*/ 0 w 19"/>
                <a:gd name="T11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04">
                  <a:moveTo>
                    <a:pt x="0" y="204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1">
              <a:extLst>
                <a:ext uri="{FF2B5EF4-FFF2-40B4-BE49-F238E27FC236}">
                  <a16:creationId xmlns:a16="http://schemas.microsoft.com/office/drawing/2014/main" id="{6060D6D9-15A5-4D95-94BC-A9B51A4B0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349" y="7614323"/>
              <a:ext cx="84842" cy="910936"/>
            </a:xfrm>
            <a:custGeom>
              <a:avLst/>
              <a:gdLst>
                <a:gd name="T0" fmla="*/ 0 w 19"/>
                <a:gd name="T1" fmla="*/ 204 h 204"/>
                <a:gd name="T2" fmla="*/ 0 w 19"/>
                <a:gd name="T3" fmla="*/ 0 h 204"/>
                <a:gd name="T4" fmla="*/ 19 w 19"/>
                <a:gd name="T5" fmla="*/ 0 h 204"/>
                <a:gd name="T6" fmla="*/ 0 w 19"/>
                <a:gd name="T7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04">
                  <a:moveTo>
                    <a:pt x="0" y="204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0" y="204"/>
                  </a:lnTo>
                  <a:close/>
                </a:path>
              </a:pathLst>
            </a:custGeom>
            <a:solidFill>
              <a:srgbClr val="257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2">
              <a:extLst>
                <a:ext uri="{FF2B5EF4-FFF2-40B4-BE49-F238E27FC236}">
                  <a16:creationId xmlns:a16="http://schemas.microsoft.com/office/drawing/2014/main" id="{AE1B44B1-DBFA-419C-A487-CF00758C4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349" y="7614323"/>
              <a:ext cx="84842" cy="910936"/>
            </a:xfrm>
            <a:custGeom>
              <a:avLst/>
              <a:gdLst>
                <a:gd name="T0" fmla="*/ 0 w 19"/>
                <a:gd name="T1" fmla="*/ 204 h 204"/>
                <a:gd name="T2" fmla="*/ 0 w 19"/>
                <a:gd name="T3" fmla="*/ 0 h 204"/>
                <a:gd name="T4" fmla="*/ 19 w 19"/>
                <a:gd name="T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204">
                  <a:moveTo>
                    <a:pt x="0" y="204"/>
                  </a:moveTo>
                  <a:lnTo>
                    <a:pt x="0" y="0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7" tIns="45709" rIns="91417" bIns="4570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1CDE3B4-A1DE-4B75-9DCD-FB34DD583B3E}"/>
                </a:ext>
              </a:extLst>
            </p:cNvPr>
            <p:cNvSpPr txBox="1"/>
            <p:nvPr/>
          </p:nvSpPr>
          <p:spPr>
            <a:xfrm>
              <a:off x="4760377" y="6624160"/>
              <a:ext cx="18255019" cy="1692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399" b="1" dirty="0">
                  <a:ln>
                    <a:solidFill>
                      <a:srgbClr val="008000"/>
                    </a:solidFill>
                  </a:ln>
                  <a:solidFill>
                    <a:srgbClr val="008000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BÀI TẬP LUYỆN TẬ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17364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838200" y="1879601"/>
            <a:ext cx="16383000" cy="1020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7138" y="2959244"/>
                <a:ext cx="16554061" cy="195692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Cho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≠</m:t>
                    </m:r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  <m:t>𝟎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ì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ậ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ợ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ữ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𝑴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scadia Mono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.</a:t>
                </a:r>
                <a:endParaRPr lang="en-US" sz="4400" b="1" dirty="0">
                  <a:solidFill>
                    <a:prstClr val="black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138" y="2959244"/>
                <a:ext cx="16554061" cy="1956922"/>
              </a:xfrm>
              <a:prstGeom prst="rect">
                <a:avLst/>
              </a:prstGeom>
              <a:blipFill>
                <a:blip r:embed="rId3"/>
                <a:stretch>
                  <a:fillRect l="-1435" t="-3096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5" name="Group 4"/>
          <p:cNvGrpSpPr/>
          <p:nvPr/>
        </p:nvGrpSpPr>
        <p:grpSpPr>
          <a:xfrm>
            <a:off x="381779" y="2959244"/>
            <a:ext cx="2792159" cy="838199"/>
            <a:chOff x="853445" y="3032647"/>
            <a:chExt cx="2792159" cy="838199"/>
          </a:xfrm>
        </p:grpSpPr>
        <p:grpSp>
          <p:nvGrpSpPr>
            <p:cNvPr id="15" name="Group 14"/>
            <p:cNvGrpSpPr/>
            <p:nvPr/>
          </p:nvGrpSpPr>
          <p:grpSpPr>
            <a:xfrm>
              <a:off x="853445" y="3032647"/>
              <a:ext cx="2792159" cy="838199"/>
              <a:chOff x="-3796694" y="945148"/>
              <a:chExt cx="5297364" cy="1862095"/>
            </a:xfrm>
          </p:grpSpPr>
          <p:sp>
            <p:nvSpPr>
              <p:cNvPr id="16" name="TextBox 321"/>
              <p:cNvSpPr txBox="1"/>
              <p:nvPr/>
            </p:nvSpPr>
            <p:spPr>
              <a:xfrm>
                <a:off x="-1984442" y="945148"/>
                <a:ext cx="3485112" cy="186209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4800" b="1" kern="1200" dirty="0">
                    <a:solidFill>
                      <a:srgbClr val="D33E03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Đ1:</a:t>
                </a:r>
                <a:endParaRPr lang="en-US" sz="4800" b="1" dirty="0">
                  <a:solidFill>
                    <a:srgbClr val="D33E03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-3796694" y="1332427"/>
                <a:ext cx="1945947" cy="1087543"/>
                <a:chOff x="-3484263" y="1332427"/>
                <a:chExt cx="1785816" cy="1087543"/>
              </a:xfrm>
            </p:grpSpPr>
            <p:grpSp>
              <p:nvGrpSpPr>
                <p:cNvPr id="18" name="Group 17"/>
                <p:cNvGrpSpPr/>
                <p:nvPr/>
              </p:nvGrpSpPr>
              <p:grpSpPr>
                <a:xfrm>
                  <a:off x="-3484263" y="1332427"/>
                  <a:ext cx="1785816" cy="1087543"/>
                  <a:chOff x="-3902278" y="1992271"/>
                  <a:chExt cx="2000062" cy="1666211"/>
                </a:xfrm>
              </p:grpSpPr>
              <p:sp>
                <p:nvSpPr>
                  <p:cNvPr id="21" name="Arrow: Pentagon 6"/>
                  <p:cNvSpPr/>
                  <p:nvPr/>
                </p:nvSpPr>
                <p:spPr>
                  <a:xfrm>
                    <a:off x="-3902278" y="1992274"/>
                    <a:ext cx="1599070" cy="1666208"/>
                  </a:xfrm>
                  <a:prstGeom prst="homePlate">
                    <a:avLst/>
                  </a:prstGeom>
                  <a:solidFill>
                    <a:schemeClr val="accent5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  <p:sp>
                <p:nvSpPr>
                  <p:cNvPr id="22" name="Arrow: Chevron 11"/>
                  <p:cNvSpPr/>
                  <p:nvPr/>
                </p:nvSpPr>
                <p:spPr>
                  <a:xfrm>
                    <a:off x="-2759185" y="1992271"/>
                    <a:ext cx="856969" cy="1666208"/>
                  </a:xfrm>
                  <a:prstGeom prst="chevron">
                    <a:avLst>
                      <a:gd name="adj" fmla="val 66014"/>
                    </a:avLst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  <a:ln>
                    <a:solidFill>
                      <a:srgbClr val="FFC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en-US" b="1"/>
                  </a:p>
                </p:txBody>
              </p:sp>
            </p:grpSp>
            <p:sp>
              <p:nvSpPr>
                <p:cNvPr id="19" name="Flowchart: Terminator 18"/>
                <p:cNvSpPr/>
                <p:nvPr/>
              </p:nvSpPr>
              <p:spPr>
                <a:xfrm>
                  <a:off x="-3367925" y="1476518"/>
                  <a:ext cx="995711" cy="799363"/>
                </a:xfrm>
                <a:prstGeom prst="flowChartTerminator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b="1"/>
                </a:p>
              </p:txBody>
            </p:sp>
            <p:sp>
              <p:nvSpPr>
                <p:cNvPr id="20" name="Oval 19"/>
                <p:cNvSpPr/>
                <p:nvPr/>
              </p:nvSpPr>
              <p:spPr>
                <a:xfrm>
                  <a:off x="-3028523" y="1518566"/>
                  <a:ext cx="611269" cy="737968"/>
                </a:xfrm>
                <a:prstGeom prst="ellipse">
                  <a:avLst/>
                </a:prstGeom>
                <a:solidFill>
                  <a:srgbClr val="3333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4800" b="1"/>
                </a:p>
              </p:txBody>
            </p:sp>
          </p:grpSp>
        </p:grpSp>
        <p:sp>
          <p:nvSpPr>
            <p:cNvPr id="23" name="Arrow: Chevron 12"/>
            <p:cNvSpPr/>
            <p:nvPr/>
          </p:nvSpPr>
          <p:spPr>
            <a:xfrm flipV="1">
              <a:off x="1457568" y="3206977"/>
              <a:ext cx="287623" cy="489543"/>
            </a:xfrm>
            <a:prstGeom prst="chevron">
              <a:avLst>
                <a:gd name="adj" fmla="val 83506"/>
              </a:avLst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b="1"/>
            </a:p>
          </p:txBody>
        </p:sp>
      </p:grpSp>
      <p:pic>
        <p:nvPicPr>
          <p:cNvPr id="25" name="Picture 2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4141" y="2053396"/>
            <a:ext cx="4572000" cy="41148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ounded Rectangle 1">
                <a:extLst>
                  <a:ext uri="{FF2B5EF4-FFF2-40B4-BE49-F238E27FC236}">
                    <a16:creationId xmlns:a16="http://schemas.microsoft.com/office/drawing/2014/main" id="{37009E93-A6E5-4047-B071-B9F0AF24A0BF}"/>
                  </a:ext>
                </a:extLst>
              </p:cNvPr>
              <p:cNvSpPr/>
              <p:nvPr/>
            </p:nvSpPr>
            <p:spPr>
              <a:xfrm>
                <a:off x="667138" y="5161978"/>
                <a:ext cx="16554060" cy="1956921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en-US" sz="4400" b="1" dirty="0" err="1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</m:oMath>
                </a14:m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ác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solidFill>
                              <a:schemeClr val="tx1"/>
                            </a:solidFill>
                            <a:effectLst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𝟎</m:t>
                        </m:r>
                      </m:e>
                    </m:acc>
                  </m:oMath>
                </a14:m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solidFill>
                      <a:srgbClr val="C00000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sz="4400" b="1" dirty="0">
                    <a:solidFill>
                      <a:schemeClr val="tx1"/>
                    </a:solidFill>
                    <a:effectLst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  <a:endParaRPr lang="en-US" sz="4400" b="1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6" name="Rounded Rectangle 1">
                <a:extLst>
                  <a:ext uri="{FF2B5EF4-FFF2-40B4-BE49-F238E27FC236}">
                    <a16:creationId xmlns:a16="http://schemas.microsoft.com/office/drawing/2014/main" id="{37009E93-A6E5-4047-B071-B9F0AF24A0B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138" y="5161978"/>
                <a:ext cx="16554060" cy="1956921"/>
              </a:xfrm>
              <a:prstGeom prst="roundRect">
                <a:avLst/>
              </a:prstGeom>
              <a:blipFill>
                <a:blip r:embed="rId5"/>
                <a:stretch>
                  <a:fillRect l="-846" r="-883" b="-30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83A71C7F-C073-4491-AC9F-6E3E6F36535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7138" y="7443104"/>
                <a:ext cx="16554059" cy="5815695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sz="4400" b="1" dirty="0" err="1">
                    <a:solidFill>
                      <a:srgbClr val="ED7D3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sz="4400" b="1" dirty="0">
                    <a:solidFill>
                      <a:srgbClr val="ED7D3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srgbClr val="ED7D3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ét</a:t>
                </a:r>
                <a:r>
                  <a:rPr lang="en-US" sz="4400" b="1" dirty="0">
                    <a:solidFill>
                      <a:srgbClr val="ED7D3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𝒏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𝜟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𝒌</m:t>
                    </m:r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𝒏</m:t>
                        </m:r>
                      </m:e>
                    </m:acc>
                    <m:r>
                      <a:rPr lang="en-US" sz="4400" b="1" i="1" smtClean="0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 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𝒌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≠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  <a:ea typeface="Calibri" panose="020F0502020204030204" pitchFamily="34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ũ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𝜟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oà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oà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iế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7" name="Content Placeholder 2">
                <a:extLst>
                  <a:ext uri="{FF2B5EF4-FFF2-40B4-BE49-F238E27FC236}">
                    <a16:creationId xmlns:a16="http://schemas.microsoft.com/office/drawing/2014/main" id="{83A71C7F-C073-4491-AC9F-6E3E6F3653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7138" y="7443104"/>
                <a:ext cx="16554059" cy="5815695"/>
              </a:xfrm>
              <a:prstGeom prst="rect">
                <a:avLst/>
              </a:prstGeom>
              <a:blipFill>
                <a:blip r:embed="rId6"/>
                <a:stretch>
                  <a:fillRect l="-1472" t="-2406" r="-1435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8" name="Picture 27">
            <a:extLst>
              <a:ext uri="{FF2B5EF4-FFF2-40B4-BE49-F238E27FC236}">
                <a16:creationId xmlns:a16="http://schemas.microsoft.com/office/drawing/2014/main" id="{90AB4B12-D8F4-4005-AE0E-177915937444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4527" y="7369079"/>
            <a:ext cx="6477000" cy="579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655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9" grpId="0" animBg="1"/>
      <p:bldP spid="26" grpId="0" animBg="1"/>
      <p:bldP spid="2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ln>
                <a:solidFill>
                  <a:srgbClr val="E2F0D9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solidFill>
                      <a:prstClr val="black"/>
                    </a:solidFill>
                  </a:rPr>
                  <a:t>                         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7.1.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kumimoji="0" lang="en-US" sz="48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𝑨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𝑩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a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b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c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blipFill>
                <a:blip r:embed="rId3"/>
                <a:stretch>
                  <a:fillRect l="-1210" t="-3030"/>
                </a:stretch>
              </a:blipFill>
              <a:ln>
                <a:solidFill>
                  <a:srgbClr val="E2F0D9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4E318-24BB-4CD7-BB8B-7A7FD6EFC9A6}"/>
              </a:ext>
            </a:extLst>
          </p:cNvPr>
          <p:cNvGrpSpPr/>
          <p:nvPr/>
        </p:nvGrpSpPr>
        <p:grpSpPr>
          <a:xfrm>
            <a:off x="0" y="2048595"/>
            <a:ext cx="3989314" cy="1183262"/>
            <a:chOff x="22440" y="44679"/>
            <a:chExt cx="953655" cy="25244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DC68754-63F0-4F7E-BF0F-CF4C7FC43BD9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11" name="Arrow: Pentagon 10">
                <a:extLst>
                  <a:ext uri="{FF2B5EF4-FFF2-40B4-BE49-F238E27FC236}">
                    <a16:creationId xmlns:a16="http://schemas.microsoft.com/office/drawing/2014/main" id="{D8C14C53-8D9E-417E-B098-34003D0DA14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FA9FB4E4-6405-44ED-A90D-8702A3961A6F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8A893702-EF7F-408F-9B85-BEC4F3DC83BB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56">
              <a:extLst>
                <a:ext uri="{FF2B5EF4-FFF2-40B4-BE49-F238E27FC236}">
                  <a16:creationId xmlns:a16="http://schemas.microsoft.com/office/drawing/2014/main" id="{EECC6C12-623A-4D3F-8074-3772DF5FD55E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ập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BA83EC0-EEE7-4E66-BD18-4F98847F5080}"/>
              </a:ext>
            </a:extLst>
          </p:cNvPr>
          <p:cNvGrpSpPr/>
          <p:nvPr/>
        </p:nvGrpSpPr>
        <p:grpSpPr>
          <a:xfrm>
            <a:off x="141341" y="7924800"/>
            <a:ext cx="23862374" cy="5410199"/>
            <a:chOff x="48567" y="4381499"/>
            <a:chExt cx="23018772" cy="5716250"/>
          </a:xfrm>
          <a:solidFill>
            <a:srgbClr val="DAE3F3"/>
          </a:solidFill>
        </p:grpSpPr>
        <p:sp>
          <p:nvSpPr>
            <p:cNvPr id="19" name="Rounded Rectangle 52">
              <a:extLst>
                <a:ext uri="{FF2B5EF4-FFF2-40B4-BE49-F238E27FC236}">
                  <a16:creationId xmlns:a16="http://schemas.microsoft.com/office/drawing/2014/main" id="{1B6D59E2-D745-45BC-85B4-AA93D2501BA7}"/>
                </a:ext>
              </a:extLst>
            </p:cNvPr>
            <p:cNvSpPr/>
            <p:nvPr/>
          </p:nvSpPr>
          <p:spPr>
            <a:xfrm>
              <a:off x="385312" y="4519422"/>
              <a:ext cx="22682027" cy="55783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D08B78B-00BD-47C8-A762-94C0B39B2AAF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51EF64CC-E239-48A3-9943-819132D8F2A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77A48A7-8E50-44B6-9069-9125BE7E501F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87CF5130-D0A6-4C43-9D29-1C5CCF4BB09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/>
              <p:nvPr/>
            </p:nvSpPr>
            <p:spPr>
              <a:xfrm>
                <a:off x="4493646" y="8226029"/>
                <a:ext cx="19064265" cy="246221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𝒙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𝒚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⇔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646" y="8226029"/>
                <a:ext cx="19064265" cy="2462213"/>
              </a:xfrm>
              <a:prstGeom prst="rect">
                <a:avLst/>
              </a:prstGeom>
              <a:blipFill>
                <a:blip r:embed="rId5"/>
                <a:stretch>
                  <a:fillRect l="-1279" t="-5198" r="-10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30100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3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ln>
                <a:solidFill>
                  <a:srgbClr val="E2F0D9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solidFill>
                      <a:prstClr val="black"/>
                    </a:solidFill>
                  </a:rPr>
                  <a:t>                         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7.1.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kumimoji="0" lang="en-US" sz="48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𝑨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𝑩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a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b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c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blipFill>
                <a:blip r:embed="rId3"/>
                <a:stretch>
                  <a:fillRect l="-1210" t="-3030"/>
                </a:stretch>
              </a:blipFill>
              <a:ln>
                <a:solidFill>
                  <a:srgbClr val="E2F0D9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4E318-24BB-4CD7-BB8B-7A7FD6EFC9A6}"/>
              </a:ext>
            </a:extLst>
          </p:cNvPr>
          <p:cNvGrpSpPr/>
          <p:nvPr/>
        </p:nvGrpSpPr>
        <p:grpSpPr>
          <a:xfrm>
            <a:off x="0" y="2048595"/>
            <a:ext cx="3989314" cy="1183262"/>
            <a:chOff x="22440" y="44679"/>
            <a:chExt cx="953655" cy="25244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DC68754-63F0-4F7E-BF0F-CF4C7FC43BD9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11" name="Arrow: Pentagon 10">
                <a:extLst>
                  <a:ext uri="{FF2B5EF4-FFF2-40B4-BE49-F238E27FC236}">
                    <a16:creationId xmlns:a16="http://schemas.microsoft.com/office/drawing/2014/main" id="{D8C14C53-8D9E-417E-B098-34003D0DA14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FA9FB4E4-6405-44ED-A90D-8702A3961A6F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8A893702-EF7F-408F-9B85-BEC4F3DC83BB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56">
              <a:extLst>
                <a:ext uri="{FF2B5EF4-FFF2-40B4-BE49-F238E27FC236}">
                  <a16:creationId xmlns:a16="http://schemas.microsoft.com/office/drawing/2014/main" id="{EECC6C12-623A-4D3F-8074-3772DF5FD55E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ập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BA83EC0-EEE7-4E66-BD18-4F98847F5080}"/>
              </a:ext>
            </a:extLst>
          </p:cNvPr>
          <p:cNvGrpSpPr/>
          <p:nvPr/>
        </p:nvGrpSpPr>
        <p:grpSpPr>
          <a:xfrm>
            <a:off x="141341" y="7924800"/>
            <a:ext cx="23862374" cy="5410199"/>
            <a:chOff x="48567" y="4381499"/>
            <a:chExt cx="23018772" cy="5716250"/>
          </a:xfrm>
          <a:solidFill>
            <a:srgbClr val="DAE3F3"/>
          </a:solidFill>
        </p:grpSpPr>
        <p:sp>
          <p:nvSpPr>
            <p:cNvPr id="19" name="Rounded Rectangle 52">
              <a:extLst>
                <a:ext uri="{FF2B5EF4-FFF2-40B4-BE49-F238E27FC236}">
                  <a16:creationId xmlns:a16="http://schemas.microsoft.com/office/drawing/2014/main" id="{1B6D59E2-D745-45BC-85B4-AA93D2501BA7}"/>
                </a:ext>
              </a:extLst>
            </p:cNvPr>
            <p:cNvSpPr/>
            <p:nvPr/>
          </p:nvSpPr>
          <p:spPr>
            <a:xfrm>
              <a:off x="385312" y="4519422"/>
              <a:ext cx="22682027" cy="55783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D08B78B-00BD-47C8-A762-94C0B39B2AAF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51EF64CC-E239-48A3-9943-819132D8F2A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77A48A7-8E50-44B6-9069-9125BE7E501F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87CF5130-D0A6-4C43-9D29-1C5CCF4BB09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/>
              <p:nvPr/>
            </p:nvSpPr>
            <p:spPr>
              <a:xfrm>
                <a:off x="4493646" y="8226029"/>
                <a:ext cx="19064265" cy="371210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𝑩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𝜟</m:t>
                          </m:r>
                        </m:e>
                        <m:sub>
                          <m:r>
                            <a:rPr lang="en-US" sz="4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  <m:r>
                        <a:rPr lang="en-US" sz="4400" b="1" i="1">
                          <a:latin typeface="Cambria Math" panose="02040503050406030204" pitchFamily="18" charset="0"/>
                        </a:rPr>
                        <m:t>: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4400" b="1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−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93646" y="8226029"/>
                <a:ext cx="19064265" cy="3712106"/>
              </a:xfrm>
              <a:prstGeom prst="rect">
                <a:avLst/>
              </a:prstGeom>
              <a:blipFill>
                <a:blip r:embed="rId5"/>
                <a:stretch>
                  <a:fillRect l="-1279" t="-34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240172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3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ln>
                <a:solidFill>
                  <a:srgbClr val="E2F0D9"/>
                </a:solidFill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solidFill>
                      <a:prstClr val="black"/>
                    </a:solidFill>
                  </a:rPr>
                  <a:t>                         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7.1.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r>
                      <a:rPr kumimoji="0" lang="en-US" sz="48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kumimoji="0" lang="en-US" sz="48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</a:endParaRP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𝑨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𝑩</m:t>
                      </m:r>
                      <m:d>
                        <m:d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;</m:t>
                          </m:r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</m:d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a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b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𝒗</m:t>
                        </m:r>
                      </m:e>
                    </m:ac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	c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0038" y="2048596"/>
                <a:ext cx="23164800" cy="5624519"/>
              </a:xfrm>
              <a:prstGeom prst="rect">
                <a:avLst/>
              </a:prstGeom>
              <a:blipFill>
                <a:blip r:embed="rId3"/>
                <a:stretch>
                  <a:fillRect l="-1210" t="-3030"/>
                </a:stretch>
              </a:blipFill>
              <a:ln>
                <a:solidFill>
                  <a:srgbClr val="E2F0D9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4E318-24BB-4CD7-BB8B-7A7FD6EFC9A6}"/>
              </a:ext>
            </a:extLst>
          </p:cNvPr>
          <p:cNvGrpSpPr/>
          <p:nvPr/>
        </p:nvGrpSpPr>
        <p:grpSpPr>
          <a:xfrm>
            <a:off x="0" y="2048595"/>
            <a:ext cx="3989314" cy="1183262"/>
            <a:chOff x="22440" y="44679"/>
            <a:chExt cx="953655" cy="25244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DC68754-63F0-4F7E-BF0F-CF4C7FC43BD9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11" name="Arrow: Pentagon 10">
                <a:extLst>
                  <a:ext uri="{FF2B5EF4-FFF2-40B4-BE49-F238E27FC236}">
                    <a16:creationId xmlns:a16="http://schemas.microsoft.com/office/drawing/2014/main" id="{D8C14C53-8D9E-417E-B098-34003D0DA14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FA9FB4E4-6405-44ED-A90D-8702A3961A6F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8A893702-EF7F-408F-9B85-BEC4F3DC83BB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56">
              <a:extLst>
                <a:ext uri="{FF2B5EF4-FFF2-40B4-BE49-F238E27FC236}">
                  <a16:creationId xmlns:a16="http://schemas.microsoft.com/office/drawing/2014/main" id="{EECC6C12-623A-4D3F-8074-3772DF5FD55E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ập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BA83EC0-EEE7-4E66-BD18-4F98847F5080}"/>
              </a:ext>
            </a:extLst>
          </p:cNvPr>
          <p:cNvGrpSpPr/>
          <p:nvPr/>
        </p:nvGrpSpPr>
        <p:grpSpPr>
          <a:xfrm>
            <a:off x="141341" y="7924800"/>
            <a:ext cx="23862374" cy="5410199"/>
            <a:chOff x="48567" y="4381499"/>
            <a:chExt cx="23018772" cy="5716250"/>
          </a:xfrm>
          <a:solidFill>
            <a:srgbClr val="DAE3F3"/>
          </a:solidFill>
        </p:grpSpPr>
        <p:sp>
          <p:nvSpPr>
            <p:cNvPr id="19" name="Rounded Rectangle 52">
              <a:extLst>
                <a:ext uri="{FF2B5EF4-FFF2-40B4-BE49-F238E27FC236}">
                  <a16:creationId xmlns:a16="http://schemas.microsoft.com/office/drawing/2014/main" id="{1B6D59E2-D745-45BC-85B4-AA93D2501BA7}"/>
                </a:ext>
              </a:extLst>
            </p:cNvPr>
            <p:cNvSpPr/>
            <p:nvPr/>
          </p:nvSpPr>
          <p:spPr>
            <a:xfrm>
              <a:off x="385312" y="4519422"/>
              <a:ext cx="22682027" cy="55783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DD08B78B-00BD-47C8-A762-94C0B39B2AAF}"/>
                </a:ext>
              </a:extLst>
            </p:cNvPr>
            <p:cNvGrpSpPr/>
            <p:nvPr/>
          </p:nvGrpSpPr>
          <p:grpSpPr>
            <a:xfrm>
              <a:off x="48567" y="4381499"/>
              <a:ext cx="3991940" cy="1079474"/>
              <a:chOff x="410517" y="4648199"/>
              <a:chExt cx="3991940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51EF64CC-E239-48A3-9943-819132D8F2A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421084" y="3633167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477A48A7-8E50-44B6-9069-9125BE7E501F}"/>
                  </a:ext>
                </a:extLst>
              </p:cNvPr>
              <p:cNvSpPr txBox="1"/>
              <p:nvPr/>
            </p:nvSpPr>
            <p:spPr>
              <a:xfrm>
                <a:off x="1406054" y="4732063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87CF5130-D0A6-4C43-9D29-1C5CCF4BB09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410517" y="4648200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/>
              <p:nvPr/>
            </p:nvSpPr>
            <p:spPr>
              <a:xfrm>
                <a:off x="1166434" y="8911349"/>
                <a:ext cx="20855366" cy="31191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𝑨𝑩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en-US" sz="4400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4400" b="1" i="1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𝒙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e>
                            <m:e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𝒚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en-US" sz="4400" b="1" i="1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5E56E8D4-62A2-4EB0-9246-9E65C12007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66434" y="8911349"/>
                <a:ext cx="20855366" cy="3119124"/>
              </a:xfrm>
              <a:prstGeom prst="rect">
                <a:avLst/>
              </a:prstGeom>
              <a:blipFill>
                <a:blip r:embed="rId5"/>
                <a:stretch>
                  <a:fillRect l="-1169" t="-1758" r="-32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65493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5F70788-46BD-44C5-A6CA-E93C790F2145}"/>
              </a:ext>
            </a:extLst>
          </p:cNvPr>
          <p:cNvSpPr txBox="1">
            <a:spLocks/>
          </p:cNvSpPr>
          <p:nvPr/>
        </p:nvSpPr>
        <p:spPr>
          <a:xfrm>
            <a:off x="381000" y="1981200"/>
            <a:ext cx="23164800" cy="1258198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</a:t>
            </a: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.2.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ập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ươ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ình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ổ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uát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ủa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á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ụ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ọa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ộ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9F004C3-35AE-4A3A-98B5-169BA432B98E}"/>
              </a:ext>
            </a:extLst>
          </p:cNvPr>
          <p:cNvGrpSpPr/>
          <p:nvPr/>
        </p:nvGrpSpPr>
        <p:grpSpPr>
          <a:xfrm>
            <a:off x="206703" y="1981200"/>
            <a:ext cx="3989314" cy="1183262"/>
            <a:chOff x="22440" y="44679"/>
            <a:chExt cx="953655" cy="25244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1256C46-96F4-469C-BA39-D3956152FDDE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24" name="Arrow: Pentagon 23">
                <a:extLst>
                  <a:ext uri="{FF2B5EF4-FFF2-40B4-BE49-F238E27FC236}">
                    <a16:creationId xmlns:a16="http://schemas.microsoft.com/office/drawing/2014/main" id="{2ED1B9C0-8FEE-4267-889B-0FAF1A3B545D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Arrow: Chevron 24">
                <a:extLst>
                  <a:ext uri="{FF2B5EF4-FFF2-40B4-BE49-F238E27FC236}">
                    <a16:creationId xmlns:a16="http://schemas.microsoft.com/office/drawing/2014/main" id="{1FE6F140-7051-4978-BFE0-8C93F36F510E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Arrow: Chevron 25">
                <a:extLst>
                  <a:ext uri="{FF2B5EF4-FFF2-40B4-BE49-F238E27FC236}">
                    <a16:creationId xmlns:a16="http://schemas.microsoft.com/office/drawing/2014/main" id="{FD4B3AFA-F728-47A4-998F-34B7A3F0ABD3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3" name="TextBox 56">
              <a:extLst>
                <a:ext uri="{FF2B5EF4-FFF2-40B4-BE49-F238E27FC236}">
                  <a16:creationId xmlns:a16="http://schemas.microsoft.com/office/drawing/2014/main" id="{34785A01-5237-4238-BDAC-AB955F32C0C6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ập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110D79E-A978-4ECF-A0BD-6CF2FA4A6CBD}"/>
              </a:ext>
            </a:extLst>
          </p:cNvPr>
          <p:cNvGrpSpPr/>
          <p:nvPr/>
        </p:nvGrpSpPr>
        <p:grpSpPr>
          <a:xfrm>
            <a:off x="360218" y="3675371"/>
            <a:ext cx="23643497" cy="5849629"/>
            <a:chOff x="259706" y="2768522"/>
            <a:chExt cx="22807633" cy="7329227"/>
          </a:xfrm>
          <a:solidFill>
            <a:srgbClr val="DAE3F3"/>
          </a:solidFill>
        </p:grpSpPr>
        <p:sp>
          <p:nvSpPr>
            <p:cNvPr id="19" name="Rounded Rectangle 52">
              <a:extLst>
                <a:ext uri="{FF2B5EF4-FFF2-40B4-BE49-F238E27FC236}">
                  <a16:creationId xmlns:a16="http://schemas.microsoft.com/office/drawing/2014/main" id="{AED0055D-92D8-4DE1-949A-673D4201D31C}"/>
                </a:ext>
              </a:extLst>
            </p:cNvPr>
            <p:cNvSpPr/>
            <p:nvPr/>
          </p:nvSpPr>
          <p:spPr>
            <a:xfrm>
              <a:off x="385312" y="2768522"/>
              <a:ext cx="22682027" cy="73292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2FBF7BE-8801-4AEC-82E3-B088E7D877BD}"/>
                </a:ext>
              </a:extLst>
            </p:cNvPr>
            <p:cNvGrpSpPr/>
            <p:nvPr/>
          </p:nvGrpSpPr>
          <p:grpSpPr>
            <a:xfrm>
              <a:off x="259706" y="2768523"/>
              <a:ext cx="3991941" cy="1079474"/>
              <a:chOff x="621656" y="3035223"/>
              <a:chExt cx="3991941" cy="1079474"/>
            </a:xfrm>
            <a:grpFill/>
          </p:grpSpPr>
          <p:sp>
            <p:nvSpPr>
              <p:cNvPr id="28" name="Freeform 20">
                <a:extLst>
                  <a:ext uri="{FF2B5EF4-FFF2-40B4-BE49-F238E27FC236}">
                    <a16:creationId xmlns:a16="http://schemas.microsoft.com/office/drawing/2014/main" id="{17871492-597C-4D1E-AF2D-B631B8499355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632224" y="2020191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F6C7CF27-8B3E-4115-9900-FCEB799C355D}"/>
                  </a:ext>
                </a:extLst>
              </p:cNvPr>
              <p:cNvSpPr txBox="1"/>
              <p:nvPr/>
            </p:nvSpPr>
            <p:spPr>
              <a:xfrm>
                <a:off x="1617192" y="3193515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3FD88692-22E6-4116-A0BB-F71B02D238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621656" y="3035224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35E1DABE-7414-4A90-9E30-A29FF31FB996}"/>
                  </a:ext>
                </a:extLst>
              </p:cNvPr>
              <p:cNvSpPr txBox="1"/>
              <p:nvPr/>
            </p:nvSpPr>
            <p:spPr>
              <a:xfrm>
                <a:off x="2424445" y="5071196"/>
                <a:ext cx="17669740" cy="41549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ụ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𝑶𝒙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𝑶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𝒋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(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𝟎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;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𝟏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ụ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𝑶𝒚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𝑶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𝒊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(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𝟏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;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𝟎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kumimoji="0" lang="en-US" sz="44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35E1DABE-7414-4A90-9E30-A29FF31FB9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24445" y="5071196"/>
                <a:ext cx="17669740" cy="4154984"/>
              </a:xfrm>
              <a:prstGeom prst="rect">
                <a:avLst/>
              </a:prstGeom>
              <a:blipFill>
                <a:blip r:embed="rId4"/>
                <a:stretch>
                  <a:fillRect l="-1415" t="-3231" r="-6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122402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id="{74F9BD66-E1B7-405E-9C49-3B8EC28C31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879599"/>
                <a:ext cx="23164800" cy="2997201"/>
              </a:xfrm>
              <a:prstGeom prst="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                    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7.3. 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:</m:t>
                    </m:r>
                    <m:d>
                      <m:dPr>
                        <m:begChr m:val="{"/>
                        <m:endChr m:val=""/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𝒙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𝒚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𝟑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𝟓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: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𝟐</m:t>
                    </m:r>
                    <m:func>
                      <m:func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𝒙</m:t>
                        </m:r>
                      </m:fName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+</m:t>
                        </m:r>
                      </m:e>
                    </m:fun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𝟑</m:t>
                    </m:r>
                    <m:func>
                      <m:func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𝒚</m:t>
                        </m:r>
                      </m:fName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−</m:t>
                        </m:r>
                      </m:e>
                    </m:func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𝟓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=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𝟎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a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b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74F9BD66-E1B7-405E-9C49-3B8EC28C31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879599"/>
                <a:ext cx="23164800" cy="2997201"/>
              </a:xfrm>
              <a:prstGeom prst="rect">
                <a:avLst/>
              </a:prstGeom>
              <a:blipFill rotWithShape="1">
                <a:blip r:embed="rId3"/>
                <a:stretch>
                  <a:fillRect l="-1421" t="-1420" r="-500" b="-26978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>
            <a:extLst>
              <a:ext uri="{FF2B5EF4-FFF2-40B4-BE49-F238E27FC236}">
                <a16:creationId xmlns:a16="http://schemas.microsoft.com/office/drawing/2014/main" id="{DE84E17C-27B3-431C-850F-F57B7D655D26}"/>
              </a:ext>
            </a:extLst>
          </p:cNvPr>
          <p:cNvGrpSpPr/>
          <p:nvPr/>
        </p:nvGrpSpPr>
        <p:grpSpPr>
          <a:xfrm>
            <a:off x="400878" y="2057400"/>
            <a:ext cx="3989314" cy="1183262"/>
            <a:chOff x="22440" y="44679"/>
            <a:chExt cx="953655" cy="25244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A60C9BE-2282-4378-92C3-800BEEC2385D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21" name="Arrow: Pentagon 20">
                <a:extLst>
                  <a:ext uri="{FF2B5EF4-FFF2-40B4-BE49-F238E27FC236}">
                    <a16:creationId xmlns:a16="http://schemas.microsoft.com/office/drawing/2014/main" id="{A5F5C0E7-DF43-4B21-96BA-478BC1C2F9A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518F6DE5-B00E-45E7-B8F1-47FD80335114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Arrow: Chevron 22">
                <a:extLst>
                  <a:ext uri="{FF2B5EF4-FFF2-40B4-BE49-F238E27FC236}">
                    <a16:creationId xmlns:a16="http://schemas.microsoft.com/office/drawing/2014/main" id="{57C817BB-0211-4966-AACE-08D8CFA3E87E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56">
              <a:extLst>
                <a:ext uri="{FF2B5EF4-FFF2-40B4-BE49-F238E27FC236}">
                  <a16:creationId xmlns:a16="http://schemas.microsoft.com/office/drawing/2014/main" id="{7D6FEC55-2C19-4321-952B-21EE88734680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 tập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C3118E0-1005-4612-B590-5518E4E107E0}"/>
              </a:ext>
            </a:extLst>
          </p:cNvPr>
          <p:cNvGrpSpPr/>
          <p:nvPr/>
        </p:nvGrpSpPr>
        <p:grpSpPr>
          <a:xfrm>
            <a:off x="359503" y="5054602"/>
            <a:ext cx="23643497" cy="7761942"/>
            <a:chOff x="259706" y="2768522"/>
            <a:chExt cx="22807633" cy="7329227"/>
          </a:xfrm>
          <a:solidFill>
            <a:srgbClr val="DAE3F3"/>
          </a:solidFill>
        </p:grpSpPr>
        <p:sp>
          <p:nvSpPr>
            <p:cNvPr id="12" name="Rounded Rectangle 52">
              <a:extLst>
                <a:ext uri="{FF2B5EF4-FFF2-40B4-BE49-F238E27FC236}">
                  <a16:creationId xmlns:a16="http://schemas.microsoft.com/office/drawing/2014/main" id="{2D770DB5-07E3-4F85-8AA1-05E83E7577B6}"/>
                </a:ext>
              </a:extLst>
            </p:cNvPr>
            <p:cNvSpPr/>
            <p:nvPr/>
          </p:nvSpPr>
          <p:spPr>
            <a:xfrm>
              <a:off x="385312" y="2768522"/>
              <a:ext cx="22682027" cy="73292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1531EB7-B6B7-464F-8C57-378A16808906}"/>
                </a:ext>
              </a:extLst>
            </p:cNvPr>
            <p:cNvGrpSpPr/>
            <p:nvPr/>
          </p:nvGrpSpPr>
          <p:grpSpPr>
            <a:xfrm>
              <a:off x="259706" y="2768523"/>
              <a:ext cx="3991941" cy="1079474"/>
              <a:chOff x="621656" y="3035223"/>
              <a:chExt cx="3991941" cy="1079474"/>
            </a:xfrm>
            <a:grpFill/>
          </p:grpSpPr>
          <p:sp>
            <p:nvSpPr>
              <p:cNvPr id="14" name="Freeform 20">
                <a:extLst>
                  <a:ext uri="{FF2B5EF4-FFF2-40B4-BE49-F238E27FC236}">
                    <a16:creationId xmlns:a16="http://schemas.microsoft.com/office/drawing/2014/main" id="{7BF604C9-098B-4C21-86A0-1AB080D68BBD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632224" y="2020191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45CDE41-29A9-4C52-A2E5-1F39915724A7}"/>
                  </a:ext>
                </a:extLst>
              </p:cNvPr>
              <p:cNvSpPr txBox="1"/>
              <p:nvPr/>
            </p:nvSpPr>
            <p:spPr>
              <a:xfrm>
                <a:off x="1617192" y="3193515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0FE0DED-3317-4D18-9FA9-08FDC95C7D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621656" y="3035224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AEB343F-D66B-45C0-B06A-CC9554DA6284}"/>
                  </a:ext>
                </a:extLst>
              </p:cNvPr>
              <p:cNvSpPr txBox="1"/>
              <p:nvPr/>
            </p:nvSpPr>
            <p:spPr>
              <a:xfrm>
                <a:off x="4532379" y="5071154"/>
                <a:ext cx="20269200" cy="402469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5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𝒖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lang="en-US" sz="4400" b="1" i="1" smtClean="0">
                            <a:latin typeface="Cambria Math"/>
                          </a:rPr>
                          <m:t>; 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𝟓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(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𝟓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;−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).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</a:p>
              <a:p>
                <a:pPr marL="0" indent="0" algn="ctr">
                  <a:lnSpc>
                    <a:spcPct val="150000"/>
                  </a:lnSpc>
                  <a:buNone/>
                </a:pP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𝟓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AEB343F-D66B-45C0-B06A-CC9554DA62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32379" y="5071154"/>
                <a:ext cx="20269200" cy="4024692"/>
              </a:xfrm>
              <a:prstGeom prst="rect">
                <a:avLst/>
              </a:prstGeom>
              <a:blipFill>
                <a:blip r:embed="rId5"/>
                <a:stretch>
                  <a:fillRect l="-12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0AF0E2C-F22A-4754-BACC-5338C3256721}"/>
                  </a:ext>
                </a:extLst>
              </p:cNvPr>
              <p:cNvSpPr txBox="1"/>
              <p:nvPr/>
            </p:nvSpPr>
            <p:spPr>
              <a:xfrm>
                <a:off x="1150532" y="9333313"/>
                <a:ext cx="17504614" cy="29569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0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𝑵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(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𝟐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𝒖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lang="en-US" sz="4400" b="1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indent="0">
                  <a:lnSpc>
                    <a:spcPct val="10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𝜟</m:t>
                        </m:r>
                      </m:e>
                      <m:sub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sub>
                    </m:sSub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𝒙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𝟑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𝒚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𝒕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.</m:t>
                            </m:r>
                          </m:e>
                        </m:eqAr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0AF0E2C-F22A-4754-BACC-5338C325672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0532" y="9333313"/>
                <a:ext cx="17504614" cy="2956900"/>
              </a:xfrm>
              <a:prstGeom prst="rect">
                <a:avLst/>
              </a:prstGeom>
              <a:blipFill>
                <a:blip r:embed="rId6"/>
                <a:stretch>
                  <a:fillRect l="-1428" t="-433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977434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id="{74F9BD66-E1B7-405E-9C49-3B8EC28C31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742440"/>
                <a:ext cx="23164800" cy="4295036"/>
              </a:xfrm>
              <a:prstGeom prst="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      7.4.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𝑩𝑪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𝑪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−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a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b)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id="{74F9BD66-E1B7-405E-9C49-3B8EC28C31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742440"/>
                <a:ext cx="23164800" cy="4295036"/>
              </a:xfrm>
              <a:prstGeom prst="rect">
                <a:avLst/>
              </a:prstGeom>
              <a:blipFill>
                <a:blip r:embed="rId3"/>
                <a:stretch>
                  <a:fillRect b="-7234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>
            <a:extLst>
              <a:ext uri="{FF2B5EF4-FFF2-40B4-BE49-F238E27FC236}">
                <a16:creationId xmlns:a16="http://schemas.microsoft.com/office/drawing/2014/main" id="{DE84E17C-27B3-431C-850F-F57B7D655D26}"/>
              </a:ext>
            </a:extLst>
          </p:cNvPr>
          <p:cNvGrpSpPr/>
          <p:nvPr/>
        </p:nvGrpSpPr>
        <p:grpSpPr>
          <a:xfrm>
            <a:off x="400878" y="2057400"/>
            <a:ext cx="3989314" cy="1183262"/>
            <a:chOff x="22440" y="44679"/>
            <a:chExt cx="953655" cy="25244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A60C9BE-2282-4378-92C3-800BEEC2385D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21" name="Arrow: Pentagon 20">
                <a:extLst>
                  <a:ext uri="{FF2B5EF4-FFF2-40B4-BE49-F238E27FC236}">
                    <a16:creationId xmlns:a16="http://schemas.microsoft.com/office/drawing/2014/main" id="{A5F5C0E7-DF43-4B21-96BA-478BC1C2F9A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518F6DE5-B00E-45E7-B8F1-47FD80335114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Arrow: Chevron 22">
                <a:extLst>
                  <a:ext uri="{FF2B5EF4-FFF2-40B4-BE49-F238E27FC236}">
                    <a16:creationId xmlns:a16="http://schemas.microsoft.com/office/drawing/2014/main" id="{57C817BB-0211-4966-AACE-08D8CFA3E87E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56">
              <a:extLst>
                <a:ext uri="{FF2B5EF4-FFF2-40B4-BE49-F238E27FC236}">
                  <a16:creationId xmlns:a16="http://schemas.microsoft.com/office/drawing/2014/main" id="{7D6FEC55-2C19-4321-952B-21EE88734680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 tập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E56F43C-DFB5-4D27-A5A2-1291213ABCA4}"/>
              </a:ext>
            </a:extLst>
          </p:cNvPr>
          <p:cNvGrpSpPr/>
          <p:nvPr/>
        </p:nvGrpSpPr>
        <p:grpSpPr>
          <a:xfrm>
            <a:off x="359503" y="6420908"/>
            <a:ext cx="23643497" cy="6914092"/>
            <a:chOff x="259706" y="2768522"/>
            <a:chExt cx="22807633" cy="7329227"/>
          </a:xfrm>
          <a:solidFill>
            <a:srgbClr val="DAE3F3"/>
          </a:solidFill>
        </p:grpSpPr>
        <p:sp>
          <p:nvSpPr>
            <p:cNvPr id="12" name="Rounded Rectangle 52">
              <a:extLst>
                <a:ext uri="{FF2B5EF4-FFF2-40B4-BE49-F238E27FC236}">
                  <a16:creationId xmlns:a16="http://schemas.microsoft.com/office/drawing/2014/main" id="{C41994F2-3C06-4DE3-81EF-52C56A234C80}"/>
                </a:ext>
              </a:extLst>
            </p:cNvPr>
            <p:cNvSpPr/>
            <p:nvPr/>
          </p:nvSpPr>
          <p:spPr>
            <a:xfrm>
              <a:off x="385312" y="2768522"/>
              <a:ext cx="22682027" cy="73292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A2790D0-E9BD-4F52-9BF3-C8898705447F}"/>
                </a:ext>
              </a:extLst>
            </p:cNvPr>
            <p:cNvGrpSpPr/>
            <p:nvPr/>
          </p:nvGrpSpPr>
          <p:grpSpPr>
            <a:xfrm>
              <a:off x="259706" y="2768523"/>
              <a:ext cx="3991941" cy="1079474"/>
              <a:chOff x="621656" y="3035223"/>
              <a:chExt cx="3991941" cy="1079474"/>
            </a:xfrm>
            <a:grpFill/>
          </p:grpSpPr>
          <p:sp>
            <p:nvSpPr>
              <p:cNvPr id="14" name="Freeform 20">
                <a:extLst>
                  <a:ext uri="{FF2B5EF4-FFF2-40B4-BE49-F238E27FC236}">
                    <a16:creationId xmlns:a16="http://schemas.microsoft.com/office/drawing/2014/main" id="{96F65E41-8CF7-40F2-A907-FA19E94F964C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632224" y="2020191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BC50EC1-33BA-4179-8498-B84A2BB00A97}"/>
                  </a:ext>
                </a:extLst>
              </p:cNvPr>
              <p:cNvSpPr txBox="1"/>
              <p:nvPr/>
            </p:nvSpPr>
            <p:spPr>
              <a:xfrm>
                <a:off x="1617192" y="3193515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F9A85A8C-06F2-40D6-AEFA-713E819D6B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621656" y="3035224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F2661F0-E939-445D-9AF4-5183C571D129}"/>
                  </a:ext>
                </a:extLst>
              </p:cNvPr>
              <p:cNvSpPr txBox="1"/>
              <p:nvPr/>
            </p:nvSpPr>
            <p:spPr>
              <a:xfrm>
                <a:off x="4593316" y="6434687"/>
                <a:ext cx="17657084" cy="25488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lnSpc>
                    <a:spcPct val="10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𝑪𝑩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𝟓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>
                  <a:lnSpc>
                    <a:spcPct val="150000"/>
                  </a:lnSpc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𝟓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𝒙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𝒚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𝟕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sz="4400" b="1" i="1"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F2661F0-E939-445D-9AF4-5183C571D1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3316" y="6434687"/>
                <a:ext cx="17657084" cy="2548839"/>
              </a:xfrm>
              <a:prstGeom prst="rect">
                <a:avLst/>
              </a:prstGeom>
              <a:blipFill>
                <a:blip r:embed="rId5"/>
                <a:stretch>
                  <a:fillRect l="-1381" t="-19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B908A55-FD8E-4181-A7B8-5AB63FCCB36C}"/>
                  </a:ext>
                </a:extLst>
              </p:cNvPr>
              <p:cNvSpPr txBox="1"/>
              <p:nvPr/>
            </p:nvSpPr>
            <p:spPr>
              <a:xfrm>
                <a:off x="1178241" y="8848242"/>
                <a:ext cx="15498609" cy="405816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𝑴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𝑨𝑪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−</m:t>
                        </m:r>
                        <m:f>
                          <m:f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  <m:r>
                          <a:rPr lang="en-US" b="1" i="1">
                            <a:latin typeface="Cambria Math" panose="02040503050406030204" pitchFamily="18" charset="0"/>
                          </a:rPr>
                          <m:t>;</m:t>
                        </m:r>
                        <m:f>
                          <m:f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 algn="just">
                  <a:lnSpc>
                    <a:spcPct val="100000"/>
                  </a:lnSpc>
                  <a:buNone/>
                </a:pP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𝑩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𝑴𝑩</m:t>
                        </m:r>
                      </m:e>
                    </m:acc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𝟕</m:t>
                            </m:r>
                          </m:num>
                          <m:den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  <m:r>
                          <a:rPr lang="en-US" b="1" i="1">
                            <a:latin typeface="Cambria Math" panose="02040503050406030204" pitchFamily="18" charset="0"/>
                          </a:rPr>
                          <m:t>;−</m:t>
                        </m:r>
                        <m:f>
                          <m:fPr>
                            <m:ctrlPr>
                              <a:rPr lang="en-US" b="1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en-US" b="1" i="1"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b="1" i="1">
                        <a:latin typeface="Cambria Math" panose="02040503050406030204" pitchFamily="18" charset="0"/>
                      </a:rPr>
                      <m:t>=(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𝟏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;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𝟑</m:t>
                        </m:r>
                        <m:r>
                          <a:rPr lang="en-US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b="1" i="1">
                            <a:latin typeface="Cambria Math" panose="02040503050406030204" pitchFamily="18" charset="0"/>
                          </a:rPr>
                          <m:t>𝟎</m:t>
                        </m:r>
                      </m:e>
                    </m:d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  <a:endParaRPr lang="en-US" b="1" i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indent="0" algn="ctr">
                  <a:lnSpc>
                    <a:spcPct val="100000"/>
                  </a:lnSpc>
                  <a:buNone/>
                </a:pPr>
                <a14:m>
                  <m:oMath xmlns:m="http://schemas.openxmlformats.org/officeDocument/2006/math">
                    <m:r>
                      <a:rPr lang="en-US" b="1" i="1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𝟕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𝟑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b="1" i="1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B908A55-FD8E-4181-A7B8-5AB63FCCB3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8241" y="8848242"/>
                <a:ext cx="15498609" cy="4058162"/>
              </a:xfrm>
              <a:prstGeom prst="rect">
                <a:avLst/>
              </a:prstGeom>
              <a:blipFill>
                <a:blip r:embed="rId6"/>
                <a:stretch>
                  <a:fillRect l="-1534" r="-1534" b="-60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6" name="Picture 25">
            <a:extLst>
              <a:ext uri="{FF2B5EF4-FFF2-40B4-BE49-F238E27FC236}">
                <a16:creationId xmlns:a16="http://schemas.microsoft.com/office/drawing/2014/main" id="{2BF7DAA0-9403-4CB7-8CE8-C4B246D0A3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1753" y="7969759"/>
            <a:ext cx="6894826" cy="5013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557970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4" grpId="0"/>
      <p:bldP spid="2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id="{74F9BD66-E1B7-405E-9C49-3B8EC28C31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200" y="1742439"/>
                <a:ext cx="23164800" cy="3591561"/>
              </a:xfrm>
              <a:prstGeom prst="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solidFill>
                      <a:prstClr val="black"/>
                    </a:solidFill>
                  </a:rPr>
                  <a:t>                       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7.5. 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oạ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ắ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ứ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i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ằ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𝒂</m:t>
                            </m:r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;</m:t>
                            </m:r>
                          </m:fName>
                          <m:e>
                            <m:r>
                              <a:rPr kumimoji="0" lang="en-US" sz="48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𝟎</m:t>
                            </m:r>
                          </m:e>
                        </m:func>
                      </m:e>
                    </m:d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,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kumimoji="0" lang="en-US" sz="48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𝒂𝒃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≠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𝟎</m:t>
                    </m:r>
                    <m:r>
                      <a:rPr kumimoji="0" lang="en-US" sz="48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𝒙</m:t>
                          </m:r>
                        </m:num>
                        <m:den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𝒂</m:t>
                          </m:r>
                        </m:den>
                      </m:f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𝒚</m:t>
                          </m:r>
                        </m:num>
                        <m:den>
                          <m:r>
                            <a:rPr kumimoji="0" lang="en-US" sz="4800" b="1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𝒃</m:t>
                          </m:r>
                        </m:den>
                      </m:f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kumimoji="0" lang="en-US" sz="48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.</m:t>
                      </m:r>
                    </m:oMath>
                  </m:oMathPara>
                </a14:m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17" name="Title 1">
                <a:extLst>
                  <a:ext uri="{FF2B5EF4-FFF2-40B4-BE49-F238E27FC236}">
                    <a16:creationId xmlns:a16="http://schemas.microsoft.com/office/drawing/2014/main" id="{74F9BD66-E1B7-405E-9C49-3B8EC28C31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200" y="1742439"/>
                <a:ext cx="23164800" cy="3591561"/>
              </a:xfrm>
              <a:prstGeom prst="rect">
                <a:avLst/>
              </a:prstGeom>
              <a:blipFill>
                <a:blip r:embed="rId3"/>
                <a:stretch>
                  <a:fillRect l="-1210" t="-5085" r="-289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" name="Group 17">
            <a:extLst>
              <a:ext uri="{FF2B5EF4-FFF2-40B4-BE49-F238E27FC236}">
                <a16:creationId xmlns:a16="http://schemas.microsoft.com/office/drawing/2014/main" id="{DE84E17C-27B3-431C-850F-F57B7D655D26}"/>
              </a:ext>
            </a:extLst>
          </p:cNvPr>
          <p:cNvGrpSpPr/>
          <p:nvPr/>
        </p:nvGrpSpPr>
        <p:grpSpPr>
          <a:xfrm>
            <a:off x="400878" y="1676400"/>
            <a:ext cx="3989314" cy="1183262"/>
            <a:chOff x="22440" y="44679"/>
            <a:chExt cx="953655" cy="25244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A60C9BE-2282-4378-92C3-800BEEC2385D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21" name="Arrow: Pentagon 20">
                <a:extLst>
                  <a:ext uri="{FF2B5EF4-FFF2-40B4-BE49-F238E27FC236}">
                    <a16:creationId xmlns:a16="http://schemas.microsoft.com/office/drawing/2014/main" id="{A5F5C0E7-DF43-4B21-96BA-478BC1C2F9A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518F6DE5-B00E-45E7-B8F1-47FD80335114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Arrow: Chevron 22">
                <a:extLst>
                  <a:ext uri="{FF2B5EF4-FFF2-40B4-BE49-F238E27FC236}">
                    <a16:creationId xmlns:a16="http://schemas.microsoft.com/office/drawing/2014/main" id="{57C817BB-0211-4966-AACE-08D8CFA3E87E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0" name="TextBox 56">
              <a:extLst>
                <a:ext uri="{FF2B5EF4-FFF2-40B4-BE49-F238E27FC236}">
                  <a16:creationId xmlns:a16="http://schemas.microsoft.com/office/drawing/2014/main" id="{7D6FEC55-2C19-4321-952B-21EE88734680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 tập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EBFAF7A-9A82-41B4-9904-076B0DEBE2A3}"/>
              </a:ext>
            </a:extLst>
          </p:cNvPr>
          <p:cNvGrpSpPr/>
          <p:nvPr/>
        </p:nvGrpSpPr>
        <p:grpSpPr>
          <a:xfrm>
            <a:off x="359503" y="5562600"/>
            <a:ext cx="23643497" cy="7696200"/>
            <a:chOff x="259706" y="2768522"/>
            <a:chExt cx="22807633" cy="7329227"/>
          </a:xfrm>
          <a:solidFill>
            <a:srgbClr val="DAE3F3"/>
          </a:solidFill>
        </p:grpSpPr>
        <p:sp>
          <p:nvSpPr>
            <p:cNvPr id="12" name="Rounded Rectangle 52">
              <a:extLst>
                <a:ext uri="{FF2B5EF4-FFF2-40B4-BE49-F238E27FC236}">
                  <a16:creationId xmlns:a16="http://schemas.microsoft.com/office/drawing/2014/main" id="{E4824789-3392-42DB-92EB-073F8CC584E6}"/>
                </a:ext>
              </a:extLst>
            </p:cNvPr>
            <p:cNvSpPr/>
            <p:nvPr/>
          </p:nvSpPr>
          <p:spPr>
            <a:xfrm>
              <a:off x="385312" y="2768522"/>
              <a:ext cx="22682027" cy="7329227"/>
            </a:xfrm>
            <a:prstGeom prst="roundRect">
              <a:avLst>
                <a:gd name="adj" fmla="val 2239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95B15D7-D72B-4733-A066-753805C00199}"/>
                </a:ext>
              </a:extLst>
            </p:cNvPr>
            <p:cNvGrpSpPr/>
            <p:nvPr/>
          </p:nvGrpSpPr>
          <p:grpSpPr>
            <a:xfrm>
              <a:off x="259706" y="2768523"/>
              <a:ext cx="3991941" cy="1079474"/>
              <a:chOff x="621656" y="3035223"/>
              <a:chExt cx="3991941" cy="1079474"/>
            </a:xfrm>
            <a:grpFill/>
          </p:grpSpPr>
          <p:sp>
            <p:nvSpPr>
              <p:cNvPr id="14" name="Freeform 20">
                <a:extLst>
                  <a:ext uri="{FF2B5EF4-FFF2-40B4-BE49-F238E27FC236}">
                    <a16:creationId xmlns:a16="http://schemas.microsoft.com/office/drawing/2014/main" id="{CFB25A12-7F7A-48EA-B66A-A489A7E2948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632224" y="2020191"/>
                <a:ext cx="966341" cy="2996405"/>
              </a:xfrm>
              <a:prstGeom prst="round1Rect">
                <a:avLst/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57C6C6C-641B-42B7-AA02-4CC2CDAED365}"/>
                  </a:ext>
                </a:extLst>
              </p:cNvPr>
              <p:cNvSpPr txBox="1"/>
              <p:nvPr/>
            </p:nvSpPr>
            <p:spPr>
              <a:xfrm>
                <a:off x="1617192" y="3193515"/>
                <a:ext cx="2872839" cy="800219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ED5F16BB-5738-4AE3-8790-515472085F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621656" y="3035224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ln/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</p:pic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AB4E991-216E-4F46-A040-ED700CEAFE50}"/>
                  </a:ext>
                </a:extLst>
              </p:cNvPr>
              <p:cNvSpPr txBox="1"/>
              <p:nvPr/>
            </p:nvSpPr>
            <p:spPr>
              <a:xfrm>
                <a:off x="1178240" y="6883256"/>
                <a:ext cx="21605560" cy="15306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just">
                  <a:lnSpc>
                    <a:spcPct val="10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2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𝑨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𝒂</m:t>
                            </m:r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;</m:t>
                            </m:r>
                          </m:fName>
                          <m:e>
                            <m:r>
                              <a:rPr lang="en-US" sz="4400" b="1" i="1">
                                <a:latin typeface="Cambria Math" panose="02040503050406030204" pitchFamily="18" charset="0"/>
                              </a:rPr>
                              <m:t>𝟎</m:t>
                            </m:r>
                          </m:e>
                        </m:func>
                      </m:e>
                    </m:d>
                    <m:r>
                      <a:rPr lang="en-US" sz="4400" b="1" i="1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𝑩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𝟎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𝑨𝑩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𝒂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𝒏</m:t>
                        </m:r>
                      </m:e>
                    </m:acc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𝒃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</m:d>
                    <m:r>
                      <a:rPr lang="en-US" sz="4400" b="1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AB4E991-216E-4F46-A040-ED700CEAFE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78240" y="6883256"/>
                <a:ext cx="21605560" cy="1530675"/>
              </a:xfrm>
              <a:prstGeom prst="rect">
                <a:avLst/>
              </a:prstGeom>
              <a:blipFill>
                <a:blip r:embed="rId5"/>
                <a:stretch>
                  <a:fillRect l="-1128" t="-3187" r="-1128" b="-179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5" name="Picture 24">
            <a:extLst>
              <a:ext uri="{FF2B5EF4-FFF2-40B4-BE49-F238E27FC236}">
                <a16:creationId xmlns:a16="http://schemas.microsoft.com/office/drawing/2014/main" id="{EE0D89BC-B5D0-45A1-A10A-87B34B8121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2362" y="7924800"/>
            <a:ext cx="6540947" cy="4706744"/>
          </a:xfrm>
          <a:prstGeom prst="rect">
            <a:avLst/>
          </a:prstGeom>
          <a:noFill/>
          <a:ln>
            <a:noFill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828AB3D-174C-4528-89E9-4D129BFD1414}"/>
                  </a:ext>
                </a:extLst>
              </p:cNvPr>
              <p:cNvSpPr txBox="1"/>
              <p:nvPr/>
            </p:nvSpPr>
            <p:spPr>
              <a:xfrm>
                <a:off x="1061474" y="8704503"/>
                <a:ext cx="15052360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just">
                  <a:lnSpc>
                    <a:spcPct val="100000"/>
                  </a:lnSpc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𝒃𝒙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𝒂𝒚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𝒂𝒃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E828AB3D-174C-4528-89E9-4D129BFD14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1474" y="8704503"/>
                <a:ext cx="15052360" cy="769441"/>
              </a:xfrm>
              <a:prstGeom prst="rect">
                <a:avLst/>
              </a:prstGeom>
              <a:blipFill>
                <a:blip r:embed="rId7"/>
                <a:stretch>
                  <a:fillRect l="-1620" t="-17460" b="-365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3B1EB89-AFB0-4A54-8787-5333E00C557A}"/>
                  </a:ext>
                </a:extLst>
              </p:cNvPr>
              <p:cNvSpPr txBox="1"/>
              <p:nvPr/>
            </p:nvSpPr>
            <p:spPr>
              <a:xfrm>
                <a:off x="1061474" y="9675273"/>
                <a:ext cx="15052360" cy="16724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ì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𝒂𝒃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≠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𝟎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hi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ả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ế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latin typeface="Cambria Math" panose="02040503050406030204" pitchFamily="18" charset="0"/>
                      </a:rPr>
                      <m:t>𝒂𝒃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𝒙</m:t>
                        </m:r>
                      </m:num>
                      <m:den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𝒂</m:t>
                        </m:r>
                      </m:den>
                    </m:f>
                    <m:r>
                      <a:rPr lang="en-US" sz="4400" b="1" i="1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𝒚</m:t>
                        </m:r>
                      </m:num>
                      <m:den>
                        <m:r>
                          <a:rPr lang="en-US" sz="4400" b="1" i="1">
                            <a:latin typeface="Cambria Math" panose="02040503050406030204" pitchFamily="18" charset="0"/>
                          </a:rPr>
                          <m:t>𝒃</m:t>
                        </m:r>
                      </m:den>
                    </m:f>
                    <m:r>
                      <a:rPr lang="en-US" sz="44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400" b="1" i="1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3B1EB89-AFB0-4A54-8787-5333E00C557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1474" y="9675273"/>
                <a:ext cx="15052360" cy="1672446"/>
              </a:xfrm>
              <a:prstGeom prst="rect">
                <a:avLst/>
              </a:prstGeom>
              <a:blipFill>
                <a:blip r:embed="rId8"/>
                <a:stretch>
                  <a:fillRect l="-1620" t="-7636" b="-61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8800883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4" grpId="0"/>
      <p:bldP spid="26" grpId="0"/>
      <p:bldP spid="2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6425" y="1981199"/>
                <a:ext cx="23164800" cy="11025187"/>
              </a:xfrm>
              <a:prstGeom prst="rect">
                <a:avLst/>
              </a:prstGeom>
              <a:ln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>
                <a:lvl1pPr algn="l" defTabSz="1828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5400" kern="1200">
                    <a:solidFill>
                      <a:schemeClr val="tx1"/>
                    </a:solidFill>
                    <a:latin typeface="Tomaho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       7.6. 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eo Google Maps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â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ộ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à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  <m: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i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𝟓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𝟖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ô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â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ẵ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𝟔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i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𝟎𝟖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ô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, bay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ộ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à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ế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â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ẵ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kumimoji="0" lang="en-US" sz="5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𝒕</m:t>
                    </m:r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í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ú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uất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t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ở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ị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í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𝒙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i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ô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í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eo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ô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ức</a:t>
                </a: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kumimoji="0" lang="en-US" sz="5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𝒙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𝟐𝟏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𝟏𝟓𝟑</m:t>
                                </m:r>
                              </m:num>
                              <m:den>
                                <m: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den>
                            </m:f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𝒚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𝟏𝟎𝟓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𝟖</m:t>
                            </m:r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num>
                              <m:den>
                                <m:r>
                                  <a:rPr kumimoji="0" lang="en-US" sz="5400" b="1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prstClr val="black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den>
                            </m:f>
                            <m:r>
                              <a:rPr kumimoji="0" lang="en-US" sz="5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)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ỏ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ế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ộ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ế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à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ẵng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ất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ấy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?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5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ể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ú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ất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nh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ã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qua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17 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kumimoji="0" lang="en-US" sz="5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𝟏𝟕</m:t>
                        </m:r>
                      </m:e>
                      <m:sup>
                        <m:r>
                          <a:rPr kumimoji="0" lang="en-US" sz="5400" b="1" i="0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 </a:t>
                </a:r>
                <a:r>
                  <a:rPr kumimoji="0" lang="en-US" sz="5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ưa</a:t>
                </a:r>
                <a:r>
                  <a:rPr kumimoji="0" lang="en-US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?</a:t>
                </a:r>
              </a:p>
            </p:txBody>
          </p:sp>
        </mc:Choice>
        <mc:Fallback xmlns="">
          <p:sp>
            <p:nvSpPr>
              <p:cNvPr id="97" name="Title 1">
                <a:extLst>
                  <a:ext uri="{FF2B5EF4-FFF2-40B4-BE49-F238E27FC236}">
                    <a16:creationId xmlns:a16="http://schemas.microsoft.com/office/drawing/2014/main" id="{D87ADF89-46F9-4713-9744-A644701231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425" y="1981199"/>
                <a:ext cx="23164800" cy="11025187"/>
              </a:xfrm>
              <a:prstGeom prst="rect">
                <a:avLst/>
              </a:prstGeom>
              <a:blipFill>
                <a:blip r:embed="rId3"/>
                <a:stretch>
                  <a:fillRect l="-1421" r="-1105" b="-2597"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4E318-24BB-4CD7-BB8B-7A7FD6EFC9A6}"/>
              </a:ext>
            </a:extLst>
          </p:cNvPr>
          <p:cNvGrpSpPr/>
          <p:nvPr/>
        </p:nvGrpSpPr>
        <p:grpSpPr>
          <a:xfrm>
            <a:off x="304800" y="2362200"/>
            <a:ext cx="3989314" cy="1183262"/>
            <a:chOff x="22440" y="44679"/>
            <a:chExt cx="953655" cy="25244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DC68754-63F0-4F7E-BF0F-CF4C7FC43BD9}"/>
                </a:ext>
              </a:extLst>
            </p:cNvPr>
            <p:cNvGrpSpPr/>
            <p:nvPr/>
          </p:nvGrpSpPr>
          <p:grpSpPr>
            <a:xfrm>
              <a:off x="22440" y="59287"/>
              <a:ext cx="953655" cy="159667"/>
              <a:chOff x="31572" y="60276"/>
              <a:chExt cx="1341810" cy="197595"/>
            </a:xfrm>
          </p:grpSpPr>
          <p:sp>
            <p:nvSpPr>
              <p:cNvPr id="11" name="Arrow: Pentagon 10">
                <a:extLst>
                  <a:ext uri="{FF2B5EF4-FFF2-40B4-BE49-F238E27FC236}">
                    <a16:creationId xmlns:a16="http://schemas.microsoft.com/office/drawing/2014/main" id="{D8C14C53-8D9E-417E-B098-34003D0DA14B}"/>
                  </a:ext>
                </a:extLst>
              </p:cNvPr>
              <p:cNvSpPr/>
              <p:nvPr/>
            </p:nvSpPr>
            <p:spPr>
              <a:xfrm>
                <a:off x="204506" y="61809"/>
                <a:ext cx="1168876" cy="19606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FA9FB4E4-6405-44ED-A90D-8702A3961A6F}"/>
                  </a:ext>
                </a:extLst>
              </p:cNvPr>
              <p:cNvSpPr/>
              <p:nvPr/>
            </p:nvSpPr>
            <p:spPr>
              <a:xfrm>
                <a:off x="31572" y="60341"/>
                <a:ext cx="162630" cy="19606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8A893702-EF7F-408F-9B85-BEC4F3DC83BB}"/>
                  </a:ext>
                </a:extLst>
              </p:cNvPr>
              <p:cNvSpPr/>
              <p:nvPr/>
            </p:nvSpPr>
            <p:spPr>
              <a:xfrm>
                <a:off x="116273" y="60276"/>
                <a:ext cx="176766" cy="196062"/>
              </a:xfrm>
              <a:prstGeom prst="chevron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56">
              <a:extLst>
                <a:ext uri="{FF2B5EF4-FFF2-40B4-BE49-F238E27FC236}">
                  <a16:creationId xmlns:a16="http://schemas.microsoft.com/office/drawing/2014/main" id="{EECC6C12-623A-4D3F-8074-3772DF5FD55E}"/>
                </a:ext>
              </a:extLst>
            </p:cNvPr>
            <p:cNvSpPr txBox="1"/>
            <p:nvPr/>
          </p:nvSpPr>
          <p:spPr>
            <a:xfrm>
              <a:off x="267457" y="44679"/>
              <a:ext cx="580215" cy="252442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ài tập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3633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>
            <a:extLst>
              <a:ext uri="{FF2B5EF4-FFF2-40B4-BE49-F238E27FC236}">
                <a16:creationId xmlns:a16="http://schemas.microsoft.com/office/drawing/2014/main" id="{331DD36C-2757-4762-8AC6-F5DBBC7792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5B83596-23B8-4650-9517-74C0A031E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09613"/>
            <a:ext cx="2438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2177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6831A0F-D078-4232-B2FC-80B28317E41B}"/>
              </a:ext>
            </a:extLst>
          </p:cNvPr>
          <p:cNvGrpSpPr/>
          <p:nvPr/>
        </p:nvGrpSpPr>
        <p:grpSpPr>
          <a:xfrm>
            <a:off x="359503" y="1981200"/>
            <a:ext cx="23643497" cy="11277600"/>
            <a:chOff x="259706" y="2768522"/>
            <a:chExt cx="22807633" cy="7329227"/>
          </a:xfrm>
          <a:solidFill>
            <a:srgbClr val="DAE3F3"/>
          </a:solidFill>
        </p:grpSpPr>
        <p:sp>
          <p:nvSpPr>
            <p:cNvPr id="15" name="Rounded Rectangle 52">
              <a:extLst>
                <a:ext uri="{FF2B5EF4-FFF2-40B4-BE49-F238E27FC236}">
                  <a16:creationId xmlns:a16="http://schemas.microsoft.com/office/drawing/2014/main" id="{1DD1F9DC-B859-4BD4-A0C8-457BB0BC3D76}"/>
                </a:ext>
              </a:extLst>
            </p:cNvPr>
            <p:cNvSpPr/>
            <p:nvPr/>
          </p:nvSpPr>
          <p:spPr>
            <a:xfrm>
              <a:off x="385312" y="2768522"/>
              <a:ext cx="22682027" cy="7329227"/>
            </a:xfrm>
            <a:prstGeom prst="roundRect">
              <a:avLst>
                <a:gd name="adj" fmla="val 2239"/>
              </a:avLst>
            </a:prstGeom>
            <a:grpFill/>
            <a:ln w="28575">
              <a:solidFill>
                <a:schemeClr val="accent3">
                  <a:lumMod val="50000"/>
                </a:schemeClr>
              </a:solidFill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7E9C249-9592-4394-B7E3-4EEA6C327987}"/>
                </a:ext>
              </a:extLst>
            </p:cNvPr>
            <p:cNvGrpSpPr/>
            <p:nvPr/>
          </p:nvGrpSpPr>
          <p:grpSpPr>
            <a:xfrm>
              <a:off x="259706" y="2768523"/>
              <a:ext cx="3991941" cy="1079474"/>
              <a:chOff x="621656" y="3035223"/>
              <a:chExt cx="3991941" cy="1079474"/>
            </a:xfrm>
            <a:grpFill/>
          </p:grpSpPr>
          <p:sp>
            <p:nvSpPr>
              <p:cNvPr id="17" name="Freeform 20">
                <a:extLst>
                  <a:ext uri="{FF2B5EF4-FFF2-40B4-BE49-F238E27FC236}">
                    <a16:creationId xmlns:a16="http://schemas.microsoft.com/office/drawing/2014/main" id="{5C8A6DCD-46FF-440A-9600-79C4C6F9998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 flipV="1">
                <a:off x="2632224" y="2020191"/>
                <a:ext cx="966341" cy="2996405"/>
              </a:xfrm>
              <a:prstGeom prst="round1Rect">
                <a:avLst/>
              </a:prstGeom>
              <a:grpFill/>
              <a:ln w="57150">
                <a:solidFill>
                  <a:schemeClr val="accent6">
                    <a:lumMod val="75000"/>
                  </a:schemeClr>
                </a:solidFill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1E4E51B-105F-46A9-B2FD-70E06E6B6A2D}"/>
                  </a:ext>
                </a:extLst>
              </p:cNvPr>
              <p:cNvSpPr txBox="1"/>
              <p:nvPr/>
            </p:nvSpPr>
            <p:spPr>
              <a:xfrm>
                <a:off x="1617192" y="3193515"/>
                <a:ext cx="2872839" cy="800219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vi-VN" sz="4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ài giải</a:t>
                </a:r>
                <a:endParaRPr kumimoji="0" lang="en-US" sz="4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A2A1466-A8D4-4195-AB01-2D78D3D3AD4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950" t="14860" r="18922" b="25555"/>
              <a:stretch/>
            </p:blipFill>
            <p:spPr>
              <a:xfrm>
                <a:off x="621656" y="3035224"/>
                <a:ext cx="1058947" cy="1079473"/>
              </a:xfrm>
              <a:prstGeom prst="round2DiagRect">
                <a:avLst>
                  <a:gd name="adj1" fmla="val 27632"/>
                  <a:gd name="adj2" fmla="val 0"/>
                </a:avLst>
              </a:prstGeom>
              <a:grpFill/>
              <a:ln w="38100" cap="sq">
                <a:solidFill>
                  <a:schemeClr val="accent6">
                    <a:lumMod val="50000"/>
                  </a:schemeClr>
                </a:solidFill>
                <a:miter lim="800000"/>
              </a:ln>
              <a:effectLst>
                <a:outerShdw blurRad="254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BD1C7169-9100-474F-92A7-71F50E9C0B26}"/>
              </a:ext>
            </a:extLst>
          </p:cNvPr>
          <p:cNvSpPr txBox="1"/>
          <p:nvPr/>
        </p:nvSpPr>
        <p:spPr>
          <a:xfrm>
            <a:off x="4821382" y="2513588"/>
            <a:ext cx="15963900" cy="76944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indent="0" algn="just">
              <a:buNone/>
            </a:pP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.6. a)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ỏ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uyế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ừ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ội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ến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Đà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ẵng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ất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ấy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4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iờ</a:t>
            </a:r>
            <a:r>
              <a:rPr lang="en-US" sz="4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A75D577-0C4C-4881-8951-D2FA1D4C4898}"/>
                  </a:ext>
                </a:extLst>
              </p:cNvPr>
              <p:cNvSpPr txBox="1"/>
              <p:nvPr/>
            </p:nvSpPr>
            <p:spPr>
              <a:xfrm>
                <a:off x="8319619" y="4619646"/>
                <a:ext cx="7853473" cy="2599558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4400" b="1" i="1"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𝟏𝟔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𝟐𝟏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f>
                              <m:fPr>
                                <m:ctrlPr>
                                  <a:rPr lang="en-US" sz="4400" b="1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4400" b="1" i="1" smtClean="0">
                                    <a:latin typeface="Cambria Math" panose="02040503050406030204" pitchFamily="18" charset="0"/>
                                  </a:rPr>
                                  <m:t>𝟏𝟓𝟑</m:t>
                                </m:r>
                              </m:num>
                              <m:den>
                                <m:r>
                                  <a:rPr lang="en-US" sz="4400" b="1" i="1" smtClean="0">
                                    <a:latin typeface="Cambria Math" panose="02040503050406030204" pitchFamily="18" charset="0"/>
                                  </a:rPr>
                                  <m:t>𝟒𝟎</m:t>
                                </m:r>
                              </m:den>
                            </m:f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  <m:e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𝟏𝟎𝟖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𝟐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=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𝟏𝟎𝟓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𝟖</m:t>
                            </m:r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en-US" sz="4400" b="1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sz="4400" b="1" i="1" smtClean="0">
                                    <a:latin typeface="Cambria Math" panose="02040503050406030204" pitchFamily="18" charset="0"/>
                                  </a:rPr>
                                  <m:t>𝟗</m:t>
                                </m:r>
                              </m:num>
                              <m:den>
                                <m:r>
                                  <a:rPr lang="en-US" sz="4400" b="1" i="1" smtClean="0">
                                    <a:latin typeface="Cambria Math" panose="02040503050406030204" pitchFamily="18" charset="0"/>
                                  </a:rPr>
                                  <m:t>𝟓</m:t>
                                </m:r>
                              </m:den>
                            </m:f>
                            <m:r>
                              <a:rPr lang="en-US" sz="4400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eqArr>
                      </m:e>
                    </m:d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⇒</m:t>
                    </m:r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𝒕</m:t>
                    </m:r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𝟒</m:t>
                        </m:r>
                      </m:num>
                      <m:den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𝟑</m:t>
                        </m:r>
                      </m:den>
                    </m:f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0A75D577-0C4C-4881-8951-D2FA1D4C48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19619" y="4619646"/>
                <a:ext cx="7853473" cy="2599558"/>
              </a:xfrm>
              <a:prstGeom prst="rect">
                <a:avLst/>
              </a:prstGeom>
              <a:blipFill>
                <a:blip r:embed="rId4"/>
                <a:stretch>
                  <a:fillRect r="-217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0476E41-DCA0-4CB7-8F26-06BC5738FE77}"/>
                  </a:ext>
                </a:extLst>
              </p:cNvPr>
              <p:cNvSpPr txBox="1"/>
              <p:nvPr/>
            </p:nvSpPr>
            <p:spPr>
              <a:xfrm>
                <a:off x="1752600" y="3712695"/>
                <a:ext cx="14706600" cy="769441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a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𝒙</m:t>
                    </m:r>
                    <m:r>
                      <a:rPr lang="en-US" sz="4400" b="1" i="0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𝟏𝟔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𝟏</m:t>
                        </m:r>
                      </m:e>
                      <m:sup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</a:t>
                </a:r>
                <a:r>
                  <a:rPr lang="en-US" sz="4400" b="1" i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400" b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𝟏𝟎𝟖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𝟐</m:t>
                        </m:r>
                      </m:e>
                      <m:sup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o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ô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ứ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t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endParaRPr lang="en-US" sz="4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0476E41-DCA0-4CB7-8F26-06BC5738FE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52600" y="3712695"/>
                <a:ext cx="14706600" cy="769441"/>
              </a:xfrm>
              <a:prstGeom prst="rect">
                <a:avLst/>
              </a:prstGeom>
              <a:blipFill>
                <a:blip r:embed="rId5"/>
                <a:stretch>
                  <a:fillRect l="-1699" t="-16535" r="-663" b="-354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072F2AD-9BC4-4603-9202-159C19F766DA}"/>
                  </a:ext>
                </a:extLst>
              </p:cNvPr>
              <p:cNvSpPr txBox="1"/>
              <p:nvPr/>
            </p:nvSpPr>
            <p:spPr>
              <a:xfrm>
                <a:off x="762000" y="8581499"/>
                <a:ext cx="20802600" cy="1446550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ể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ú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ấ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ã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17 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𝟏𝟕</m:t>
                        </m:r>
                      </m:e>
                      <m:sup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ưa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?</a:t>
                </a:r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072F2AD-9BC4-4603-9202-159C19F766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0" y="8581499"/>
                <a:ext cx="20802600" cy="1446550"/>
              </a:xfrm>
              <a:prstGeom prst="rect">
                <a:avLst/>
              </a:prstGeom>
              <a:blipFill>
                <a:blip r:embed="rId6"/>
                <a:stretch>
                  <a:fillRect l="-1172" t="-9244" r="-1113" b="-184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06C0C79-88B4-4C01-B83D-1B79DB6DE586}"/>
                  </a:ext>
                </a:extLst>
              </p:cNvPr>
              <p:cNvSpPr txBox="1"/>
              <p:nvPr/>
            </p:nvSpPr>
            <p:spPr>
              <a:xfrm>
                <a:off x="1731818" y="7175287"/>
                <a:ext cx="14193337" cy="1068562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ộ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à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ẵng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ấ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𝟒</m:t>
                        </m:r>
                      </m:num>
                      <m:den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𝟑</m:t>
                        </m:r>
                      </m:den>
                    </m:f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06C0C79-88B4-4C01-B83D-1B79DB6DE5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31818" y="7175287"/>
                <a:ext cx="14193337" cy="1068562"/>
              </a:xfrm>
              <a:prstGeom prst="rect">
                <a:avLst/>
              </a:prstGeom>
              <a:blipFill>
                <a:blip r:embed="rId7"/>
                <a:stretch>
                  <a:fillRect l="-1717" r="-816" b="-102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B768146-ED97-4ACC-B3FC-C198EE10E639}"/>
                  </a:ext>
                </a:extLst>
              </p:cNvPr>
              <p:cNvSpPr txBox="1"/>
              <p:nvPr/>
            </p:nvSpPr>
            <p:spPr>
              <a:xfrm>
                <a:off x="762000" y="10325381"/>
                <a:ext cx="20802600" cy="1446550"/>
              </a:xfrm>
              <a:prstGeom prst="rect">
                <a:avLst/>
              </a:prstGeom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indent="0" algn="just">
                  <a:buNone/>
                </a:pP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ạ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1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ờ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ể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ú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ất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nh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lang="en-US" sz="4400" b="1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ới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4400" b="1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𝟏𝟕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𝟑𝟕𝟓</m:t>
                        </m:r>
                      </m:e>
                      <m:sup>
                        <m:r>
                          <a:rPr lang="en-US" sz="4400" b="1" i="1" smtClean="0">
                            <a:latin typeface="Cambria Math" panose="02040503050406030204" pitchFamily="18" charset="0"/>
                          </a:rPr>
                          <m:t>𝐨</m:t>
                        </m:r>
                      </m:sup>
                    </m:sSup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ắc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áy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</a:t>
                </a:r>
                <a:r>
                  <a:rPr lang="en-US" sz="4400" b="1" dirty="0" err="1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ưa</a:t>
                </a:r>
                <a:r>
                  <a:rPr lang="en-US" sz="4400" b="1" dirty="0">
                    <a:solidFill>
                      <a:srgbClr val="FF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y qua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ĩ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 smtClean="0">
                        <a:latin typeface="Cambria Math" panose="02040503050406030204" pitchFamily="18" charset="0"/>
                      </a:rPr>
                      <m:t>𝟏𝟕</m:t>
                    </m:r>
                  </m:oMath>
                </a14:m>
                <a:r>
                  <a:rPr lang="en-US" sz="44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B768146-ED97-4ACC-B3FC-C198EE10E6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2000" y="10325381"/>
                <a:ext cx="20802600" cy="1446550"/>
              </a:xfrm>
              <a:prstGeom prst="rect">
                <a:avLst/>
              </a:prstGeom>
              <a:blipFill>
                <a:blip r:embed="rId8"/>
                <a:stretch>
                  <a:fillRect l="-1172" t="-9244" b="-184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706537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2" grpId="0" animBg="1"/>
      <p:bldP spid="13" grpId="0" animBg="1"/>
      <p:bldP spid="21" grpId="0" animBg="1"/>
      <p:bldP spid="22" grpId="0" animBg="1"/>
      <p:bldP spid="2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6804938-7F68-41AE-B367-0D3DEDE1A0C2}"/>
              </a:ext>
            </a:extLst>
          </p:cNvPr>
          <p:cNvGrpSpPr/>
          <p:nvPr/>
        </p:nvGrpSpPr>
        <p:grpSpPr>
          <a:xfrm>
            <a:off x="457200" y="1676400"/>
            <a:ext cx="4572000" cy="914400"/>
            <a:chOff x="400050" y="2914650"/>
            <a:chExt cx="3790949" cy="914400"/>
          </a:xfrm>
        </p:grpSpPr>
        <p:sp>
          <p:nvSpPr>
            <p:cNvPr id="5" name="Freeform 20">
              <a:extLst>
                <a:ext uri="{FF2B5EF4-FFF2-40B4-BE49-F238E27FC236}">
                  <a16:creationId xmlns:a16="http://schemas.microsoft.com/office/drawing/2014/main" id="{6A05B985-10C1-44A3-9CE2-8205C5FF3469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2251546" y="1819614"/>
              <a:ext cx="739765" cy="3139141"/>
            </a:xfrm>
            <a:prstGeom prst="round1Rect">
              <a:avLst/>
            </a:prstGeom>
            <a:solidFill>
              <a:schemeClr val="bg1"/>
            </a:solidFill>
            <a:ln w="57150">
              <a:solidFill>
                <a:srgbClr val="0999C8"/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vert="horz" wrap="square" lIns="91429" tIns="45715" rIns="91429" bIns="4571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D1C11B1-B555-4A87-8E6A-CCDDF90F634C}"/>
                </a:ext>
              </a:extLst>
            </p:cNvPr>
            <p:cNvSpPr txBox="1"/>
            <p:nvPr/>
          </p:nvSpPr>
          <p:spPr>
            <a:xfrm>
              <a:off x="1346202" y="3004278"/>
              <a:ext cx="284479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Em</a:t>
              </a: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ó</a:t>
              </a: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iết</a:t>
              </a:r>
              <a:endPara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" name="Round Diagonal Corner Rectangle 41">
              <a:extLst>
                <a:ext uri="{FF2B5EF4-FFF2-40B4-BE49-F238E27FC236}">
                  <a16:creationId xmlns:a16="http://schemas.microsoft.com/office/drawing/2014/main" id="{34FA7D1F-7589-453A-A287-9DA2CD68B50D}"/>
                </a:ext>
              </a:extLst>
            </p:cNvPr>
            <p:cNvSpPr/>
            <p:nvPr/>
          </p:nvSpPr>
          <p:spPr>
            <a:xfrm flipV="1">
              <a:off x="482013" y="3019305"/>
              <a:ext cx="774703" cy="739764"/>
            </a:xfrm>
            <a:prstGeom prst="round2DiagRect">
              <a:avLst/>
            </a:prstGeom>
            <a:solidFill>
              <a:srgbClr val="0999C8"/>
            </a:solidFill>
            <a:ln w="57150">
              <a:solidFill>
                <a:srgbClr val="0999C8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Graphic 7" descr="Clipboard outline">
              <a:extLst>
                <a:ext uri="{FF2B5EF4-FFF2-40B4-BE49-F238E27FC236}">
                  <a16:creationId xmlns:a16="http://schemas.microsoft.com/office/drawing/2014/main" id="{A87338A1-436A-4824-BED8-4DFB052A8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050" y="2914650"/>
              <a:ext cx="914400" cy="91440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43723F0A-9235-413C-96BA-897691FCAA85}"/>
                  </a:ext>
                </a:extLst>
              </p:cNvPr>
              <p:cNvSpPr/>
              <p:nvPr/>
            </p:nvSpPr>
            <p:spPr>
              <a:xfrm>
                <a:off x="304800" y="2590800"/>
                <a:ext cx="23444150" cy="10896600"/>
              </a:xfrm>
              <a:prstGeom prst="roundRect">
                <a:avLst>
                  <a:gd name="adj" fmla="val 9039"/>
                </a:avLst>
              </a:prstGeom>
              <a:solidFill>
                <a:srgbClr val="FFE2A7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0" rIns="7200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just" defTabSz="1828800">
                  <a:spcBef>
                    <a:spcPts val="2000"/>
                  </a:spcBef>
                  <a:defRPr/>
                </a:pP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ồi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y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í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ử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ụ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ố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ê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ề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ố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ệ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ữ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ạ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ượ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ế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ả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ố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ê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ẫu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ẳ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ạ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ề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ố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ệ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ữ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a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ạ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ượ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𝒙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à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𝒚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(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𝒚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ụ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uộ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ào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𝒙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ư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ế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ào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),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ừ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ế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quả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ố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ê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ượ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ể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iệ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ở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ì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7.4a,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ươ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áp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ồ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quy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uyế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í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ư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r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ườ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ẳ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(H.7.4b)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ể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iệ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gầ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ú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ấ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ố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qua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ệ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giữ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á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ại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lượ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𝒙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à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ã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ượ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ố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ê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ề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ặ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ì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ả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,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á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hấm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xa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ên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hình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ẽ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(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ó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ọa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ộ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là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á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ặp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giá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ị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8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48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𝒙</m:t>
                        </m:r>
                        <m:r>
                          <a:rPr lang="en-US" sz="48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;</m:t>
                        </m:r>
                        <m:r>
                          <a:rPr lang="en-US" sz="48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o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ết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quả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ố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ê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),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ập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ung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8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ọc</a:t>
                </a:r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8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en-US" sz="48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43723F0A-9235-413C-96BA-897691FCAA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2590800"/>
                <a:ext cx="23444150" cy="10896600"/>
              </a:xfrm>
              <a:prstGeom prst="roundRect">
                <a:avLst>
                  <a:gd name="adj" fmla="val 9039"/>
                </a:avLst>
              </a:prstGeom>
              <a:blipFill>
                <a:blip r:embed="rId6"/>
                <a:stretch>
                  <a:fillRect/>
                </a:stretch>
              </a:blip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6B685CB-2588-493C-B617-1689657CFC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5731283"/>
              </p:ext>
            </p:extLst>
          </p:nvPr>
        </p:nvGraphicFramePr>
        <p:xfrm>
          <a:off x="5010539" y="9211030"/>
          <a:ext cx="13716000" cy="42763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7" imgW="8104762" imgH="2534004" progId="Paint.Picture">
                  <p:embed/>
                </p:oleObj>
              </mc:Choice>
              <mc:Fallback>
                <p:oleObj name="Bitmap Image" r:id="rId7" imgW="8104762" imgH="2534004" progId="Paint.Picture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10539" y="9211030"/>
                        <a:ext cx="13716000" cy="42763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882245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2375" y="1755431"/>
            <a:ext cx="231648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669" y="2819400"/>
                <a:ext cx="23164800" cy="32765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0" indent="0" algn="just">
                  <a:lnSpc>
                    <a:spcPct val="150000"/>
                  </a:lnSpc>
                  <a:spcAft>
                    <a:spcPts val="800"/>
                  </a:spcAft>
                  <a:buNone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	           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ỉ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  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𝟎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𝑪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𝟓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ự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oạ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669" y="2819400"/>
                <a:ext cx="23164800" cy="3276599"/>
              </a:xfrm>
              <a:prstGeom prst="rect">
                <a:avLst/>
              </a:prstGeom>
              <a:blipFill>
                <a:blip r:embed="rId3"/>
                <a:stretch>
                  <a:fillRect l="-1052" r="-1710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 5"/>
          <p:cNvGrpSpPr/>
          <p:nvPr/>
        </p:nvGrpSpPr>
        <p:grpSpPr>
          <a:xfrm>
            <a:off x="371669" y="2819400"/>
            <a:ext cx="3657600" cy="846967"/>
            <a:chOff x="27395" y="60714"/>
            <a:chExt cx="1260580" cy="157054"/>
          </a:xfrm>
        </p:grpSpPr>
        <p:grpSp>
          <p:nvGrpSpPr>
            <p:cNvPr id="7" name="Group 6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9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" name="TextBox 56"/>
            <p:cNvSpPr txBox="1"/>
            <p:nvPr/>
          </p:nvSpPr>
          <p:spPr>
            <a:xfrm>
              <a:off x="250984" y="68068"/>
              <a:ext cx="884516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 dụ 1.</a:t>
              </a:r>
              <a:endParaRPr kumimoji="0" lang="en-US" sz="4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669" y="6629400"/>
                <a:ext cx="14173200" cy="6324600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ự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oạ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𝑩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𝑩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𝑨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𝑩𝑪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669" y="6629400"/>
                <a:ext cx="14173200" cy="6324600"/>
              </a:xfrm>
              <a:prstGeom prst="rect">
                <a:avLst/>
              </a:prstGeom>
              <a:blipFill>
                <a:blip r:embed="rId4"/>
                <a:stretch>
                  <a:fillRect l="-1719" t="-2214" r="-1676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>
            <a:extLst>
              <a:ext uri="{FF2B5EF4-FFF2-40B4-BE49-F238E27FC236}">
                <a16:creationId xmlns:a16="http://schemas.microsoft.com/office/drawing/2014/main" id="{CB06BB7C-1CFE-4F8C-AC4E-E0B2B46F61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44869" y="7620001"/>
            <a:ext cx="9632640" cy="519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2463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12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6804938-7F68-41AE-B367-0D3DEDE1A0C2}"/>
              </a:ext>
            </a:extLst>
          </p:cNvPr>
          <p:cNvGrpSpPr/>
          <p:nvPr/>
        </p:nvGrpSpPr>
        <p:grpSpPr>
          <a:xfrm>
            <a:off x="457200" y="1676400"/>
            <a:ext cx="4572000" cy="914400"/>
            <a:chOff x="400050" y="2914650"/>
            <a:chExt cx="3790949" cy="914400"/>
          </a:xfrm>
        </p:grpSpPr>
        <p:sp>
          <p:nvSpPr>
            <p:cNvPr id="5" name="Freeform 20">
              <a:extLst>
                <a:ext uri="{FF2B5EF4-FFF2-40B4-BE49-F238E27FC236}">
                  <a16:creationId xmlns:a16="http://schemas.microsoft.com/office/drawing/2014/main" id="{6A05B985-10C1-44A3-9CE2-8205C5FF3469}"/>
                </a:ext>
              </a:extLst>
            </p:cNvPr>
            <p:cNvSpPr>
              <a:spLocks/>
            </p:cNvSpPr>
            <p:nvPr/>
          </p:nvSpPr>
          <p:spPr bwMode="auto">
            <a:xfrm rot="16200000" flipV="1">
              <a:off x="2251546" y="1819614"/>
              <a:ext cx="739765" cy="3139141"/>
            </a:xfrm>
            <a:prstGeom prst="round1Rect">
              <a:avLst/>
            </a:prstGeom>
            <a:solidFill>
              <a:schemeClr val="bg1"/>
            </a:solidFill>
            <a:ln w="57150">
              <a:solidFill>
                <a:srgbClr val="0999C8"/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vert="horz" wrap="square" lIns="91429" tIns="45715" rIns="91429" bIns="4571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D1C11B1-B555-4A87-8E6A-CCDDF90F634C}"/>
                </a:ext>
              </a:extLst>
            </p:cNvPr>
            <p:cNvSpPr txBox="1"/>
            <p:nvPr/>
          </p:nvSpPr>
          <p:spPr>
            <a:xfrm>
              <a:off x="1346202" y="3004278"/>
              <a:ext cx="284479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Em</a:t>
              </a: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có</a:t>
              </a: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kumimoji="0" lang="en-US" sz="4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biết</a:t>
              </a:r>
              <a:endPara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" name="Round Diagonal Corner Rectangle 41">
              <a:extLst>
                <a:ext uri="{FF2B5EF4-FFF2-40B4-BE49-F238E27FC236}">
                  <a16:creationId xmlns:a16="http://schemas.microsoft.com/office/drawing/2014/main" id="{34FA7D1F-7589-453A-A287-9DA2CD68B50D}"/>
                </a:ext>
              </a:extLst>
            </p:cNvPr>
            <p:cNvSpPr/>
            <p:nvPr/>
          </p:nvSpPr>
          <p:spPr>
            <a:xfrm flipV="1">
              <a:off x="482013" y="3019305"/>
              <a:ext cx="774703" cy="739764"/>
            </a:xfrm>
            <a:prstGeom prst="round2DiagRect">
              <a:avLst/>
            </a:prstGeom>
            <a:solidFill>
              <a:srgbClr val="0999C8"/>
            </a:solidFill>
            <a:ln w="57150">
              <a:solidFill>
                <a:srgbClr val="0999C8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Graphic 7" descr="Clipboard outline">
              <a:extLst>
                <a:ext uri="{FF2B5EF4-FFF2-40B4-BE49-F238E27FC236}">
                  <a16:creationId xmlns:a16="http://schemas.microsoft.com/office/drawing/2014/main" id="{A87338A1-436A-4824-BED8-4DFB052A8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050" y="2914650"/>
              <a:ext cx="914400" cy="91440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43723F0A-9235-413C-96BA-897691FCAA85}"/>
                  </a:ext>
                </a:extLst>
              </p:cNvPr>
              <p:cNvSpPr/>
              <p:nvPr/>
            </p:nvSpPr>
            <p:spPr>
              <a:xfrm>
                <a:off x="304800" y="2590800"/>
                <a:ext cx="23444150" cy="10896600"/>
              </a:xfrm>
              <a:prstGeom prst="roundRect">
                <a:avLst>
                  <a:gd name="adj" fmla="val 9039"/>
                </a:avLst>
              </a:prstGeom>
              <a:solidFill>
                <a:srgbClr val="FFE2A7"/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0" rIns="7200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indent="1082675" algn="just">
                  <a:defRPr/>
                </a:pP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𝜟</m:t>
                    </m:r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(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ươ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ì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𝒚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𝒂𝒙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𝒃</m:t>
                    </m:r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)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gườ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ta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ườ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dù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iêu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huẩ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gọ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là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ì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ươ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ỏ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ấ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ư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au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: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Vớ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mỗ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ặp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  <m: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ro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ế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quả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hố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ê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xé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ì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ươ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hoả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ác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ừ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𝑴</m:t>
                    </m:r>
                    <m:d>
                      <m:dPr>
                        <m:ctrlP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  <m: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ế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𝑴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′</m:t>
                    </m:r>
                    <m:d>
                      <m:dPr>
                        <m:ctrlP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  <m: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;</m:t>
                        </m:r>
                        <m:func>
                          <m:funcPr>
                            <m:ctrlP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sSub>
                              <m:sSubPr>
                                <m:ctrlPr>
                                  <a:rPr lang="en-US" sz="4400" b="1" i="1">
                                    <a:solidFill>
                                      <a:prstClr val="black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4400" b="1" i="1">
                                    <a:solidFill>
                                      <a:prstClr val="black"/>
                                    </a:solidFill>
                                    <a:latin typeface="Cambria Math" panose="02040503050406030204" pitchFamily="18" charset="0"/>
                                  </a:rPr>
                                  <m:t>𝒂𝒙</m:t>
                                </m:r>
                              </m:e>
                              <m:sub>
                                <m:r>
                                  <a:rPr lang="en-US" sz="4400" b="1" i="1">
                                    <a:solidFill>
                                      <a:prstClr val="black"/>
                                    </a:solidFill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sub>
                            </m:sSub>
                          </m:fName>
                          <m:e>
                            <m:r>
                              <a:rPr lang="en-US" sz="4400" b="1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+</m:t>
                            </m:r>
                          </m:e>
                        </m:func>
                        <m:r>
                          <a:rPr lang="en-US" sz="44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Kh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ó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𝒃</m:t>
                    </m:r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đượ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họ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sa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h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ổ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cá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bì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phươ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ày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là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ỏ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nhấ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.</a:t>
                </a:r>
              </a:p>
              <a:p>
                <a:pPr lvl="0" algn="just" defTabSz="1828800">
                  <a:lnSpc>
                    <a:spcPct val="150000"/>
                  </a:lnSpc>
                  <a:spcBef>
                    <a:spcPts val="2000"/>
                  </a:spcBef>
                  <a:defRPr/>
                </a:pPr>
                <a:r>
                  <a:rPr lang="en-US" sz="4400" b="1" dirty="0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     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ờ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iểu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ị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ầ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ú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ự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ụ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ữ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ạ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ượ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𝒚</m:t>
                    </m:r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e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ạ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ượ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𝒙</m:t>
                    </m:r>
                  </m:oMath>
                </a14:m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ườ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á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ằm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oà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ế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ả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ố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ê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ấ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iê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ô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ả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ô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ũ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ù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ợp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ày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ay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ả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ế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ả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ố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ê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ập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u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ọ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ẳ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ạ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á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ịnh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ả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ê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ử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a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a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á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ban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ầu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ể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oá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ta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ể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hĩ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ằ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yể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ư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ê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ực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ế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ìn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u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e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arabol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a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ầm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ững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ự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áo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ư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ật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i </a:t>
                </a:r>
                <a:r>
                  <a:rPr lang="en-US" sz="4400" b="1" dirty="0" err="1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ại</a:t>
                </a:r>
                <a:r>
                  <a:rPr lang="en-US" sz="4400" b="1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!</a:t>
                </a:r>
              </a:p>
            </p:txBody>
          </p:sp>
        </mc:Choice>
        <mc:Fallback xmlns=""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43723F0A-9235-413C-96BA-897691FCAA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2590800"/>
                <a:ext cx="23444150" cy="10896600"/>
              </a:xfrm>
              <a:prstGeom prst="roundRect">
                <a:avLst>
                  <a:gd name="adj" fmla="val 9039"/>
                </a:avLst>
              </a:prstGeom>
              <a:blipFill>
                <a:blip r:embed="rId5"/>
                <a:stretch>
                  <a:fillRect/>
                </a:stretch>
              </a:blipFill>
              <a:ln w="19050">
                <a:solidFill>
                  <a:schemeClr val="accent2">
                    <a:lumMod val="75000"/>
                  </a:scheme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064366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04800" y="1833881"/>
            <a:ext cx="237744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4800" y="3002281"/>
                <a:ext cx="23774400" cy="10363199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828800" rtl="0" eaLnBrk="1" fontAlgn="auto" latinLnBrk="0" hangingPunct="1">
                  <a:lnSpc>
                    <a:spcPct val="10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ứ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i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ằ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𝟎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(1)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sng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kumimoji="0" lang="en-US" sz="44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: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</m:oMath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ẽ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ấ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rằ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khi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endParaRPr lang="en-US" sz="4400" b="1" dirty="0">
                  <a:solidFill>
                    <a:prstClr val="black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</m:t>
                    </m:r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𝑨𝑴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.</m:t>
                    </m:r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Cambria Math" panose="02040503050406030204" pitchFamily="18" charset="0"/>
                      </a:rPr>
                      <m:t>⇔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𝒙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𝒐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kumimoji="0" lang="en-US" sz="4400" b="1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𝒚</m:t>
                            </m:r>
                          </m:e>
                          <m:sub>
                            <m:r>
                              <a:rPr kumimoji="0" lang="en-US" sz="4400" b="1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prstClr val="black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Calibri" panose="020F0502020204030204" pitchFamily="34" charset="0"/>
                                <a:cs typeface="Times New Roman" panose="02020603050405020304" pitchFamily="18" charset="0"/>
                              </a:rPr>
                              <m:t>𝟎</m:t>
                            </m:r>
                          </m:sub>
                        </m:sSub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                                                               </a:t>
                </a:r>
              </a:p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3002281"/>
                <a:ext cx="23774400" cy="10363199"/>
              </a:xfrm>
              <a:prstGeom prst="rect">
                <a:avLst/>
              </a:prstGeom>
              <a:blipFill rotWithShape="1">
                <a:blip r:embed="rId3"/>
                <a:stretch>
                  <a:fillRect l="-999" t="-1175" r="-20554" b="-1058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533400" y="3040585"/>
            <a:ext cx="2792159" cy="838199"/>
            <a:chOff x="853445" y="3032647"/>
            <a:chExt cx="2792159" cy="838199"/>
          </a:xfrm>
        </p:grpSpPr>
        <p:grpSp>
          <p:nvGrpSpPr>
            <p:cNvPr id="14" name="Group 13"/>
            <p:cNvGrpSpPr/>
            <p:nvPr/>
          </p:nvGrpSpPr>
          <p:grpSpPr>
            <a:xfrm>
              <a:off x="853445" y="3032647"/>
              <a:ext cx="2792159" cy="838199"/>
              <a:chOff x="-3796694" y="945148"/>
              <a:chExt cx="5297364" cy="1862095"/>
            </a:xfrm>
          </p:grpSpPr>
          <p:sp>
            <p:nvSpPr>
              <p:cNvPr id="16" name="TextBox 321"/>
              <p:cNvSpPr txBox="1"/>
              <p:nvPr/>
            </p:nvSpPr>
            <p:spPr>
              <a:xfrm>
                <a:off x="-1984442" y="945148"/>
                <a:ext cx="3485112" cy="1862095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>
                    <a:ln>
                      <a:noFill/>
                    </a:ln>
                    <a:solidFill>
                      <a:srgbClr val="D33E03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HĐ2:</a:t>
                </a: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-3796694" y="1332427"/>
                <a:ext cx="1945947" cy="1087543"/>
                <a:chOff x="-3484263" y="1332427"/>
                <a:chExt cx="1785816" cy="1087543"/>
              </a:xfrm>
            </p:grpSpPr>
            <p:grpSp>
              <p:nvGrpSpPr>
                <p:cNvPr id="18" name="Group 17"/>
                <p:cNvGrpSpPr/>
                <p:nvPr/>
              </p:nvGrpSpPr>
              <p:grpSpPr>
                <a:xfrm>
                  <a:off x="-3484263" y="1332427"/>
                  <a:ext cx="1785816" cy="1087543"/>
                  <a:chOff x="-3902278" y="1992271"/>
                  <a:chExt cx="2000062" cy="1666211"/>
                </a:xfrm>
              </p:grpSpPr>
              <p:sp>
                <p:nvSpPr>
                  <p:cNvPr id="21" name="Arrow: Pentagon 6"/>
                  <p:cNvSpPr/>
                  <p:nvPr/>
                </p:nvSpPr>
                <p:spPr>
                  <a:xfrm>
                    <a:off x="-3902278" y="1992274"/>
                    <a:ext cx="1599070" cy="1666208"/>
                  </a:xfrm>
                  <a:prstGeom prst="homePlate">
                    <a:avLst/>
                  </a:prstGeom>
                  <a:solidFill>
                    <a:schemeClr val="accent5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3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Arrow: Chevron 11"/>
                  <p:cNvSpPr/>
                  <p:nvPr/>
                </p:nvSpPr>
                <p:spPr>
                  <a:xfrm>
                    <a:off x="-2759185" y="1992271"/>
                    <a:ext cx="856969" cy="1666208"/>
                  </a:xfrm>
                  <a:prstGeom prst="chevron">
                    <a:avLst>
                      <a:gd name="adj" fmla="val 66014"/>
                    </a:avLst>
                  </a:prstGeom>
                  <a:solidFill>
                    <a:schemeClr val="accent4">
                      <a:lumMod val="40000"/>
                      <a:lumOff val="60000"/>
                    </a:schemeClr>
                  </a:solidFill>
                  <a:ln>
                    <a:solidFill>
                      <a:srgbClr val="FFC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l" defTabSz="217727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43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9" name="Flowchart: Terminator 18"/>
                <p:cNvSpPr/>
                <p:nvPr/>
              </p:nvSpPr>
              <p:spPr>
                <a:xfrm>
                  <a:off x="-3367925" y="1476518"/>
                  <a:ext cx="995711" cy="799363"/>
                </a:xfrm>
                <a:prstGeom prst="flowChartTerminator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>
                <a:xfrm>
                  <a:off x="-3028523" y="1518566"/>
                  <a:ext cx="611269" cy="737968"/>
                </a:xfrm>
                <a:prstGeom prst="ellipse">
                  <a:avLst/>
                </a:prstGeom>
                <a:solidFill>
                  <a:srgbClr val="3333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21772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" name="Arrow: Chevron 12"/>
            <p:cNvSpPr/>
            <p:nvPr/>
          </p:nvSpPr>
          <p:spPr>
            <a:xfrm flipV="1">
              <a:off x="1457568" y="3206977"/>
              <a:ext cx="287623" cy="489543"/>
            </a:xfrm>
            <a:prstGeom prst="chevron">
              <a:avLst>
                <a:gd name="adj" fmla="val 83506"/>
              </a:avLst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Picture 22"/>
          <p:cNvPicPr/>
          <p:nvPr/>
        </p:nvPicPr>
        <p:blipFill>
          <a:blip r:embed="rId4"/>
          <a:stretch>
            <a:fillRect/>
          </a:stretch>
        </p:blipFill>
        <p:spPr>
          <a:xfrm>
            <a:off x="17145000" y="4823770"/>
            <a:ext cx="6781800" cy="6377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0910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81000" y="1879601"/>
            <a:ext cx="236220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1000" y="3048002"/>
                <a:ext cx="23622000" cy="7848598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xé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HĐ2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ế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𝒄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−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sSub>
                      <m:sSub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</m:e>
                      <m:sub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𝒐</m:t>
                        </m:r>
                      </m:sub>
                    </m:sSub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sSub>
                      <m:sSub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  <m:sub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𝒐</m:t>
                        </m:r>
                      </m:sub>
                    </m:sSub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ì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1)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ò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iế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ư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ạng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𝒚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𝒄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ợ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ọ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ư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ậy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uộ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ỏ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ã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000" y="3048002"/>
                <a:ext cx="23622000" cy="7848598"/>
              </a:xfrm>
              <a:prstGeom prst="rect">
                <a:avLst/>
              </a:prstGeom>
              <a:blipFill>
                <a:blip r:embed="rId3"/>
                <a:stretch>
                  <a:fillRect l="-1032" t="-1705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Rounded Rectangle 1"/>
              <p:cNvSpPr/>
              <p:nvPr/>
            </p:nvSpPr>
            <p:spPr>
              <a:xfrm>
                <a:off x="571500" y="7086598"/>
                <a:ext cx="23241000" cy="3581400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just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ọ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ề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𝒚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𝒄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ằ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gượ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ạ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ỗ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d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𝒚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𝒄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𝒂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h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ồ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ờ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ằ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scadia Mono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ều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" name="Rounded Rectangle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1500" y="7086598"/>
                <a:ext cx="23241000" cy="3581400"/>
              </a:xfrm>
              <a:prstGeom prst="roundRect">
                <a:avLst/>
              </a:prstGeom>
              <a:blipFill>
                <a:blip r:embed="rId4"/>
                <a:stretch>
                  <a:fillRect l="-288" r="-2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95484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24" grpId="0" animBg="1"/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457200" y="1879601"/>
            <a:ext cx="235458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200" y="3048001"/>
                <a:ext cx="15087600" cy="8497077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57200" marR="0" lvl="0" indent="-457200" algn="just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hậ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sng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kumimoji="0" lang="en-US" sz="44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l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</a:p>
              <a:p>
                <a:pPr marL="0" marR="0" lvl="0" indent="0" algn="ctr" defTabSz="1828800" rtl="0" eaLnBrk="1" fontAlgn="auto" latinLnBrk="0" hangingPunct="1">
                  <a:lnSpc>
                    <a:spcPct val="107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⟺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𝟑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𝟏𝟎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5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mc:Choice>
        <mc:Fallback xmlns=""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" y="3048001"/>
                <a:ext cx="15087600" cy="8497077"/>
              </a:xfrm>
              <a:prstGeom prst="rect">
                <a:avLst/>
              </a:prstGeom>
              <a:blipFill>
                <a:blip r:embed="rId3"/>
                <a:stretch>
                  <a:fillRect l="-1574" r="-1574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3" name="Group 12"/>
          <p:cNvGrpSpPr/>
          <p:nvPr/>
        </p:nvGrpSpPr>
        <p:grpSpPr>
          <a:xfrm>
            <a:off x="457200" y="3276600"/>
            <a:ext cx="3165038" cy="846967"/>
            <a:chOff x="27395" y="60714"/>
            <a:chExt cx="1260580" cy="157054"/>
          </a:xfrm>
        </p:grpSpPr>
        <p:grpSp>
          <p:nvGrpSpPr>
            <p:cNvPr id="14" name="Group 13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16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5" name="TextBox 56"/>
            <p:cNvSpPr txBox="1"/>
            <p:nvPr/>
          </p:nvSpPr>
          <p:spPr>
            <a:xfrm>
              <a:off x="250984" y="68068"/>
              <a:ext cx="1036991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2177278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n-US" sz="4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dụ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CC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2.</a:t>
              </a: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E2343084-57F3-E29D-21B4-0174DA94DB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92230" y="3010679"/>
            <a:ext cx="8429298" cy="853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698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457200" y="1879601"/>
            <a:ext cx="235458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 marL="0" marR="0" lvl="0" indent="0" algn="l" defTabSz="18288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7201" y="3086965"/>
                <a:ext cx="15697199" cy="9333636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ts val="2000"/>
                  </a:spcBef>
                  <a:spcAft>
                    <a:spcPts val="80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      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b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ỉ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𝟓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𝟑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𝑪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𝟔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sng" strike="noStrike" kern="120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kumimoji="0" lang="en-US" sz="44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của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uô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ó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nê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ộ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𝑩𝑪</m:t>
                        </m:r>
                      </m:e>
                    </m:acc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𝟐</m:t>
                        </m:r>
                      </m:e>
                    </m:d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marR="0" lvl="0" indent="0" algn="just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ao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kẻ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ừ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tam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giác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0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∆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𝑨𝑩𝑪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tổng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quát</a:t>
                </a: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kumimoji="0" lang="en-US" sz="4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+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𝟐</m:t>
                    </m:r>
                    <m:d>
                      <m:dPr>
                        <m:ctrlPr>
                          <a:rPr kumimoji="0" lang="en-US" sz="4400" b="1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kumimoji="0" lang="en-US" sz="4400" b="1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𝟓</m:t>
                        </m:r>
                      </m:e>
                    </m:d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14:m>
                  <m:oMath xmlns:m="http://schemas.openxmlformats.org/officeDocument/2006/math"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⇔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𝟐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𝟏𝟒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kumimoji="0" lang="en-US" sz="4400" b="1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0" lvl="0" indent="0" algn="ctr">
                  <a:lnSpc>
                    <a:spcPct val="100000"/>
                  </a:lnSpc>
                  <a:spcBef>
                    <a:spcPts val="0"/>
                  </a:spcBef>
                  <a:buNone/>
                  <a:defRPr/>
                </a:pPr>
                <a14:m>
                  <m:oMath xmlns:m="http://schemas.openxmlformats.org/officeDocument/2006/math"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⇔</m:t>
                    </m:r>
                    <m:r>
                      <a:rPr lang="en-US" sz="4400" b="1" i="1" smtClean="0">
                        <a:solidFill>
                          <a:prstClr val="black"/>
                        </a:solidFill>
                        <a:latin typeface="Cambria Math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𝟐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𝒙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sz="4400" b="1" i="1" smtClean="0">
                        <a:solidFill>
                          <a:prstClr val="black"/>
                        </a:solidFill>
                        <a:latin typeface="Cambria Math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𝟕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sz="4400" b="1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kumimoji="0" lang="en-US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19" name="Content Placeholder 2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1" y="3086965"/>
                <a:ext cx="15697199" cy="9333636"/>
              </a:xfrm>
              <a:prstGeom prst="rect">
                <a:avLst/>
              </a:prstGeom>
              <a:blipFill rotWithShape="1">
                <a:blip r:embed="rId3"/>
                <a:stretch>
                  <a:fillRect l="-1513" t="-1239" r="-3570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/>
          <p:cNvGrpSpPr/>
          <p:nvPr/>
        </p:nvGrpSpPr>
        <p:grpSpPr>
          <a:xfrm>
            <a:off x="609600" y="2895600"/>
            <a:ext cx="4419600" cy="865123"/>
            <a:chOff x="1219200" y="1883409"/>
            <a:chExt cx="4234636" cy="865123"/>
          </a:xfrm>
        </p:grpSpPr>
        <p:grpSp>
          <p:nvGrpSpPr>
            <p:cNvPr id="21" name="Group 20"/>
            <p:cNvGrpSpPr/>
            <p:nvPr/>
          </p:nvGrpSpPr>
          <p:grpSpPr>
            <a:xfrm>
              <a:off x="1219200" y="1883409"/>
              <a:ext cx="4234636" cy="865123"/>
              <a:chOff x="10025696" y="6718934"/>
              <a:chExt cx="4234636" cy="865123"/>
            </a:xfrm>
          </p:grpSpPr>
          <p:sp>
            <p:nvSpPr>
              <p:cNvPr id="23" name="Arrow: Pentagon 33"/>
              <p:cNvSpPr/>
              <p:nvPr/>
            </p:nvSpPr>
            <p:spPr>
              <a:xfrm>
                <a:off x="10429865" y="6752717"/>
                <a:ext cx="3810953" cy="806702"/>
              </a:xfrm>
              <a:prstGeom prst="homePlate">
                <a:avLst/>
              </a:prstGeom>
              <a:solidFill>
                <a:srgbClr val="FCFFEF"/>
              </a:solidFill>
              <a:ln w="12700" cap="flat" cmpd="sng" algn="ctr">
                <a:solidFill>
                  <a:srgbClr val="ED7D31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Arrow: Chevron 34"/>
              <p:cNvSpPr/>
              <p:nvPr/>
            </p:nvSpPr>
            <p:spPr>
              <a:xfrm>
                <a:off x="10025696" y="6773546"/>
                <a:ext cx="273620" cy="806702"/>
              </a:xfrm>
              <a:prstGeom prst="chevron">
                <a:avLst/>
              </a:prstGeom>
              <a:solidFill>
                <a:srgbClr val="4472C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l" defTabSz="21772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TextBox 56"/>
              <p:cNvSpPr txBox="1"/>
              <p:nvPr/>
            </p:nvSpPr>
            <p:spPr>
              <a:xfrm>
                <a:off x="10582965" y="6718934"/>
                <a:ext cx="3677367" cy="865123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 marL="0" marR="0" lvl="0" indent="0" algn="l" defTabSz="2177278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Luyện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sz="4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tập</a:t>
                </a:r>
                <a:r>
                  <a:rPr kumimoji="0" lang="en-US" sz="4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CC"/>
                    </a:solidFill>
                    <a:effectLst/>
                    <a:uLnTx/>
                    <a:uFillTx/>
                    <a:latin typeface="Tomaho"/>
                    <a:ea typeface="Calibri" panose="020F0502020204030204" pitchFamily="34" charset="0"/>
                    <a:cs typeface="Times New Roman" panose="02020603050405020304" pitchFamily="18" charset="0"/>
                  </a:rPr>
                  <a:t> 1.</a:t>
                </a:r>
                <a:endPara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2" name="Arrow: Chevron 35"/>
            <p:cNvSpPr/>
            <p:nvPr/>
          </p:nvSpPr>
          <p:spPr>
            <a:xfrm>
              <a:off x="1349749" y="1935480"/>
              <a:ext cx="296171" cy="806702"/>
            </a:xfrm>
            <a:prstGeom prst="chevron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2177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C198E9AE-0236-4179-9F7B-84AB4D399C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03857" y="5943600"/>
            <a:ext cx="7564507" cy="4200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4800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itle 1">
            <a:extLst>
              <a:ext uri="{FF2B5EF4-FFF2-40B4-BE49-F238E27FC236}">
                <a16:creationId xmlns:a16="http://schemas.microsoft.com/office/drawing/2014/main" id="{D87ADF89-46F9-4713-9744-A644701231B8}"/>
              </a:ext>
            </a:extLst>
          </p:cNvPr>
          <p:cNvSpPr txBox="1">
            <a:spLocks/>
          </p:cNvSpPr>
          <p:nvPr/>
        </p:nvSpPr>
        <p:spPr>
          <a:xfrm>
            <a:off x="304800" y="1879601"/>
            <a:ext cx="23698200" cy="116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Tomaho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8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HƯƠNG TRÌNH TỔNG QUÁT CỦA ĐƯỜNG THẲNG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4800" y="3139441"/>
                <a:ext cx="23698200" cy="10271760"/>
              </a:xfrm>
              <a:prstGeom prst="rect">
                <a:avLst/>
              </a:prstGeom>
              <a:solidFill>
                <a:srgbClr val="D6F7FE"/>
              </a:solidFill>
              <a:ln>
                <a:solidFill>
                  <a:srgbClr val="00B0F0"/>
                </a:solidFill>
              </a:ln>
            </p:spPr>
            <p:txBody>
              <a:bodyPr/>
              <a:lstStyle>
                <a:lvl1pPr marL="457200" indent="-457200" algn="l" defTabSz="1828800" rtl="0" eaLnBrk="1" latinLnBrk="0" hangingPunct="1">
                  <a:lnSpc>
                    <a:spcPct val="90000"/>
                  </a:lnSpc>
                  <a:spcBef>
                    <a:spcPts val="2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1pPr>
                <a:lvl2pPr marL="1371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2pPr>
                <a:lvl3pPr marL="2286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3pPr>
                <a:lvl4pPr marL="3200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4pPr>
                <a:lvl5pPr marL="41148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4800" kern="1200">
                    <a:solidFill>
                      <a:schemeClr val="tx1"/>
                    </a:solidFill>
                    <a:latin typeface="Tomaho"/>
                    <a:ea typeface="+mn-ea"/>
                    <a:cs typeface="+mn-cs"/>
                  </a:defRPr>
                </a:lvl5pPr>
                <a:lvl6pPr marL="50292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59436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68580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772400" indent="-457200" algn="l" defTabSz="18288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3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0" indent="0" algn="just" defTabSz="2177278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None/>
                </a:pP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                    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ro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mặt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phẳ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ọa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độ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lập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đi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qua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𝑨</m:t>
                    </m:r>
                    <m:d>
                      <m:dPr>
                        <m:ctrlPr>
                          <a:rPr lang="en-US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𝟎</m:t>
                        </m:r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và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có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vectơ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pháp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uyến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⃗"/>
                        <m:ctrlPr>
                          <a:rPr lang="en-US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𝒏</m:t>
                        </m:r>
                      </m:e>
                    </m:acc>
                    <m:d>
                      <m:dPr>
                        <m:ctrlPr>
                          <a:rPr lang="en-US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𝒂</m:t>
                        </m:r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−</m:t>
                        </m:r>
                        <m:r>
                          <a:rPr lang="en-US" b="1" i="1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𝟏</m:t>
                        </m:r>
                      </m:e>
                    </m:d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,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các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hực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cho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rước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.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Hãy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chỉ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ra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mối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liên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hệ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giữa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với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đồ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thị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hàm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lang="en-US" b="1" dirty="0">
                    <a:solidFill>
                      <a:prstClr val="black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u="sng" dirty="0" err="1">
                    <a:solidFill>
                      <a:srgbClr val="FF0000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Giải</a:t>
                </a:r>
                <a:r>
                  <a:rPr lang="en-US" b="1" u="sng" dirty="0">
                    <a:solidFill>
                      <a:srgbClr val="FF0000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: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phươ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rình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𝟎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𝟏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𝒃</m:t>
                        </m:r>
                      </m:e>
                    </m:d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hay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ập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hợp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nhữ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iểm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𝑴</m:t>
                    </m:r>
                    <m:d>
                      <m:dPr>
                        <m:ctrlPr>
                          <a:rPr lang="en-US" b="1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;</m:t>
                        </m:r>
                        <m:r>
                          <a:rPr lang="en-US" b="1" i="1" smtClean="0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Times New Roman" panose="02020603050405020304" pitchFamily="18" charset="0"/>
                          </a:rPr>
                          <m:t>𝒚</m:t>
                        </m:r>
                      </m:e>
                    </m:d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hỏa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mãn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hay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  <a:p>
                <a:pPr marL="0" indent="0">
                  <a:lnSpc>
                    <a:spcPct val="107000"/>
                  </a:lnSpc>
                  <a:spcAft>
                    <a:spcPts val="800"/>
                  </a:spcAft>
                  <a:buNone/>
                </a:pP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Do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ó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,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ườ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hẳng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𝜟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: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−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𝟎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chính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là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đồ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thị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của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hàm</a:t>
                </a:r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b="1" dirty="0" err="1">
                    <a:ea typeface="Tahoma" panose="020B0604030504040204" pitchFamily="34" charset="0"/>
                    <a:cs typeface="Tahoma" panose="020B0604030504040204" pitchFamily="34" charset="0"/>
                  </a:rPr>
                  <a:t>số</a:t>
                </a:r>
                <a14:m>
                  <m:oMath xmlns:m="http://schemas.openxmlformats.org/officeDocument/2006/math">
                    <m:r>
                      <a:rPr lang="en-US" b="1" i="0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𝒚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𝒂𝒙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+</m:t>
                    </m:r>
                    <m:r>
                      <a:rPr lang="en-US" b="1" i="1" smtClean="0">
                        <a:latin typeface="Cambria Math" panose="020405030504060302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m:t>𝒃</m:t>
                    </m:r>
                  </m:oMath>
                </a14:m>
                <a:r>
                  <a:rPr lang="en-US" b="1" dirty="0">
                    <a:ea typeface="Tahoma" panose="020B0604030504040204" pitchFamily="34" charset="0"/>
                    <a:cs typeface="Tahoma" panose="020B060403050404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24" name="Content Placeholder 2">
                <a:extLst>
                  <a:ext uri="{FF2B5EF4-FFF2-40B4-BE49-F238E27FC236}">
                    <a16:creationId xmlns:a16="http://schemas.microsoft.com/office/drawing/2014/main" id="{14822BB7-DB89-4357-87F0-6E511FC44A6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4800" y="3139441"/>
                <a:ext cx="23698200" cy="10271760"/>
              </a:xfrm>
              <a:prstGeom prst="rect">
                <a:avLst/>
              </a:prstGeom>
              <a:blipFill>
                <a:blip r:embed="rId3"/>
                <a:stretch>
                  <a:fillRect l="-1131" t="-1126" r="-1105"/>
                </a:stretch>
              </a:blipFill>
              <a:ln>
                <a:solidFill>
                  <a:srgbClr val="00B0F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Group 11"/>
          <p:cNvGrpSpPr/>
          <p:nvPr/>
        </p:nvGrpSpPr>
        <p:grpSpPr>
          <a:xfrm>
            <a:off x="309465" y="3079103"/>
            <a:ext cx="3119535" cy="846967"/>
            <a:chOff x="27395" y="60714"/>
            <a:chExt cx="1260580" cy="157054"/>
          </a:xfrm>
        </p:grpSpPr>
        <p:grpSp>
          <p:nvGrpSpPr>
            <p:cNvPr id="13" name="Group 12"/>
            <p:cNvGrpSpPr/>
            <p:nvPr/>
          </p:nvGrpSpPr>
          <p:grpSpPr>
            <a:xfrm>
              <a:off x="27395" y="60714"/>
              <a:ext cx="1260580" cy="157054"/>
              <a:chOff x="38544" y="62041"/>
              <a:chExt cx="1773659" cy="194361"/>
            </a:xfrm>
          </p:grpSpPr>
          <p:sp>
            <p:nvSpPr>
              <p:cNvPr id="15" name="Arrow: Pentagon 25"/>
              <p:cNvSpPr/>
              <p:nvPr/>
            </p:nvSpPr>
            <p:spPr>
              <a:xfrm>
                <a:off x="204585" y="62041"/>
                <a:ext cx="1607618" cy="194296"/>
              </a:xfrm>
              <a:prstGeom prst="homePlate">
                <a:avLst/>
              </a:prstGeom>
              <a:solidFill>
                <a:srgbClr val="FCFFEF"/>
              </a:solidFill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06000"/>
                  </a:lnSpc>
                  <a:spcAft>
                    <a:spcPts val="800"/>
                  </a:spcAft>
                </a:pPr>
                <a:r>
                  <a:rPr lang="en-US" sz="1000" b="1" kern="1200">
                    <a:solidFill>
                      <a:srgbClr val="0000CC"/>
                    </a:solidFill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sz="1200" b="1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Arrow: Chevron 26"/>
              <p:cNvSpPr/>
              <p:nvPr/>
            </p:nvSpPr>
            <p:spPr>
              <a:xfrm>
                <a:off x="38544" y="62041"/>
                <a:ext cx="155658" cy="194361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  <p:sp>
            <p:nvSpPr>
              <p:cNvPr id="17" name="Arrow: Chevron 27"/>
              <p:cNvSpPr/>
              <p:nvPr/>
            </p:nvSpPr>
            <p:spPr>
              <a:xfrm>
                <a:off x="115330" y="62041"/>
                <a:ext cx="177710" cy="194296"/>
              </a:xfrm>
              <a:prstGeom prst="chevr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b="1"/>
              </a:p>
            </p:txBody>
          </p:sp>
        </p:grpSp>
        <p:sp>
          <p:nvSpPr>
            <p:cNvPr id="14" name="TextBox 56"/>
            <p:cNvSpPr txBox="1"/>
            <p:nvPr/>
          </p:nvSpPr>
          <p:spPr>
            <a:xfrm>
              <a:off x="250984" y="68068"/>
              <a:ext cx="1036991" cy="13953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4800" b="1" kern="1200" dirty="0" err="1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Ví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4800" b="1" kern="1200" dirty="0" err="1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dụ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4800" b="1" dirty="0">
                  <a:solidFill>
                    <a:srgbClr val="0000CC"/>
                  </a:solidFill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3</a:t>
              </a:r>
              <a:r>
                <a:rPr lang="en-US" sz="4800" b="1" kern="1200" dirty="0">
                  <a:solidFill>
                    <a:srgbClr val="0000CC"/>
                  </a:solidFill>
                  <a:effectLst/>
                  <a:latin typeface="Tomaho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endParaRPr lang="en-US" sz="4800" b="1" dirty="0">
                <a:effectLst/>
                <a:latin typeface="Tomaho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96024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257&quot;/&gt;&lt;/object&gt;&lt;object type=&quot;3&quot; unique_id=&quot;10004&quot;&gt;&lt;property id=&quot;20148&quot; value=&quot;5&quot;/&gt;&lt;property id=&quot;20300&quot; value=&quot;Slide 2&quot;/&gt;&lt;property id=&quot;20307&quot; value=&quot;258&quot;/&gt;&lt;/object&gt;&lt;object type=&quot;3&quot; unique_id=&quot;10005&quot;&gt;&lt;property id=&quot;20148&quot; value=&quot;5&quot;/&gt;&lt;property id=&quot;20300&quot; value=&quot;Slide 3&quot;/&gt;&lt;property id=&quot;20307&quot; value=&quot;259&quot;/&gt;&lt;/object&gt;&lt;object type=&quot;3&quot; unique_id=&quot;10006&quot;&gt;&lt;property id=&quot;20148&quot; value=&quot;5&quot;/&gt;&lt;property id=&quot;20300&quot; value=&quot;Slide 4&quot;/&gt;&lt;property id=&quot;20307&quot; value=&quot;260&quot;/&gt;&lt;/object&gt;&lt;object type=&quot;3&quot; unique_id=&quot;10007&quot;&gt;&lt;property id=&quot;20148&quot; value=&quot;5&quot;/&gt;&lt;property id=&quot;20300&quot; value=&quot;Slide 5&quot;/&gt;&lt;property id=&quot;20307&quot; value=&quot;262&quot;/&gt;&lt;/object&gt;&lt;object type=&quot;3&quot; unique_id=&quot;10008&quot;&gt;&lt;property id=&quot;20148&quot; value=&quot;5&quot;/&gt;&lt;property id=&quot;20300&quot; value=&quot;Slide 6&quot;/&gt;&lt;property id=&quot;20307&quot; value=&quot;263&quot;/&gt;&lt;/object&gt;&lt;object type=&quot;3&quot; unique_id=&quot;10009&quot;&gt;&lt;property id=&quot;20148&quot; value=&quot;5&quot;/&gt;&lt;property id=&quot;20300&quot; value=&quot;Slide 7&quot;/&gt;&lt;property id=&quot;20307&quot; value=&quot;264&quot;/&gt;&lt;/object&gt;&lt;object type=&quot;3&quot; unique_id=&quot;10010&quot;&gt;&lt;property id=&quot;20148&quot; value=&quot;5&quot;/&gt;&lt;property id=&quot;20300&quot; value=&quot;Slide 8&quot;/&gt;&lt;property id=&quot;20307&quot; value=&quot;265&quot;/&gt;&lt;/object&gt;&lt;object type=&quot;3&quot; unique_id=&quot;10011&quot;&gt;&lt;property id=&quot;20148&quot; value=&quot;5&quot;/&gt;&lt;property id=&quot;20300&quot; value=&quot;Slide 9&quot;/&gt;&lt;property id=&quot;20307&quot; value=&quot;266&quot;/&gt;&lt;/object&gt;&lt;object type=&quot;3&quot; unique_id=&quot;10012&quot;&gt;&lt;property id=&quot;20148&quot; value=&quot;5&quot;/&gt;&lt;property id=&quot;20300&quot; value=&quot;Slide 10&quot;/&gt;&lt;property id=&quot;20307&quot; value=&quot;267&quot;/&gt;&lt;/object&gt;&lt;object type=&quot;3&quot; unique_id=&quot;10013&quot;&gt;&lt;property id=&quot;20148&quot; value=&quot;5&quot;/&gt;&lt;property id=&quot;20300&quot; value=&quot;Slide 11&quot;/&gt;&lt;property id=&quot;20307&quot; value=&quot;269&quot;/&gt;&lt;/object&gt;&lt;object type=&quot;3&quot; unique_id=&quot;10014&quot;&gt;&lt;property id=&quot;20148&quot; value=&quot;5&quot;/&gt;&lt;property id=&quot;20300&quot; value=&quot;Slide 12&quot;/&gt;&lt;property id=&quot;20307&quot; value=&quot;270&quot;/&gt;&lt;/object&gt;&lt;object type=&quot;3&quot; unique_id=&quot;10015&quot;&gt;&lt;property id=&quot;20148&quot; value=&quot;5&quot;/&gt;&lt;property id=&quot;20300&quot; value=&quot;Slide 13&quot;/&gt;&lt;property id=&quot;20307&quot; value=&quot;274&quot;/&gt;&lt;/object&gt;&lt;object type=&quot;3&quot; unique_id=&quot;10016&quot;&gt;&lt;property id=&quot;20148&quot; value=&quot;5&quot;/&gt;&lt;property id=&quot;20300&quot; value=&quot;Slide 14&quot;/&gt;&lt;property id=&quot;20307&quot; value=&quot;275&quot;/&gt;&lt;/object&gt;&lt;object type=&quot;3&quot; unique_id=&quot;10017&quot;&gt;&lt;property id=&quot;20148&quot; value=&quot;5&quot;/&gt;&lt;property id=&quot;20300&quot; value=&quot;Slide 15&quot;/&gt;&lt;property id=&quot;20307&quot; value=&quot;276&quot;/&gt;&lt;/object&gt;&lt;object type=&quot;3&quot; unique_id=&quot;10018&quot;&gt;&lt;property id=&quot;20148&quot; value=&quot;5&quot;/&gt;&lt;property id=&quot;20300&quot; value=&quot;Slide 16&quot;/&gt;&lt;property id=&quot;20307&quot; value=&quot;277&quot;/&gt;&lt;/object&gt;&lt;object type=&quot;3&quot; unique_id=&quot;10019&quot;&gt;&lt;property id=&quot;20148&quot; value=&quot;5&quot;/&gt;&lt;property id=&quot;20300&quot; value=&quot;Slide 17&quot;/&gt;&lt;property id=&quot;20307&quot; value=&quot;271&quot;/&gt;&lt;/object&gt;&lt;object type=&quot;3&quot; unique_id=&quot;10020&quot;&gt;&lt;property id=&quot;20148&quot; value=&quot;5&quot;/&gt;&lt;property id=&quot;20300&quot; value=&quot;Slide 18&quot;/&gt;&lt;property id=&quot;20307&quot; value=&quot;278&quot;/&gt;&lt;/object&gt;&lt;object type=&quot;3&quot; unique_id=&quot;10021&quot;&gt;&lt;property id=&quot;20148&quot; value=&quot;5&quot;/&gt;&lt;property id=&quot;20300&quot; value=&quot;Slide 19&quot;/&gt;&lt;property id=&quot;20307&quot; value=&quot;279&quot;/&gt;&lt;/object&gt;&lt;object type=&quot;3&quot; unique_id=&quot;10022&quot;&gt;&lt;property id=&quot;20148&quot; value=&quot;5&quot;/&gt;&lt;property id=&quot;20300&quot; value=&quot;Slide 20&quot;/&gt;&lt;property id=&quot;20307&quot; value=&quot;272&quot;/&gt;&lt;/object&gt;&lt;object type=&quot;3&quot; unique_id=&quot;10023&quot;&gt;&lt;property id=&quot;20148&quot; value=&quot;5&quot;/&gt;&lt;property id=&quot;20300&quot; value=&quot;Slide 21&quot;/&gt;&lt;property id=&quot;20307&quot; value=&quot;273&quot;/&gt;&lt;/object&gt;&lt;object type=&quot;3&quot; unique_id=&quot;10024&quot;&gt;&lt;property id=&quot;20148&quot; value=&quot;5&quot;/&gt;&lt;property id=&quot;20300&quot; value=&quot;Slide 22&quot;/&gt;&lt;property id=&quot;20307&quot; value=&quot;268&quot;/&gt;&lt;/object&gt;&lt;object type=&quot;3&quot; unique_id=&quot;10025&quot;&gt;&lt;property id=&quot;20148&quot; value=&quot;5&quot;/&gt;&lt;property id=&quot;20300&quot; value=&quot;Slide 23&quot;/&gt;&lt;property id=&quot;20307&quot; value=&quot;280&quot;/&gt;&lt;/object&gt;&lt;object type=&quot;3&quot; unique_id=&quot;10026&quot;&gt;&lt;property id=&quot;20148&quot; value=&quot;5&quot;/&gt;&lt;property id=&quot;20300&quot; value=&quot;Slide 24&quot;/&gt;&lt;property id=&quot;20307&quot; value=&quot;281&quot;/&gt;&lt;/object&gt;&lt;object type=&quot;3&quot; unique_id=&quot;10027&quot;&gt;&lt;property id=&quot;20148&quot; value=&quot;5&quot;/&gt;&lt;property id=&quot;20300&quot; value=&quot;Slide 25&quot;/&gt;&lt;property id=&quot;20307&quot; value=&quot;282&quot;/&gt;&lt;/object&gt;&lt;/object&gt;&lt;object type=&quot;8&quot; unique_id=&quot;10056&quot;&gt;&lt;/object&gt;&lt;/object&gt;&lt;/database&gt;"/>
  <p:tag name="SECTOMILLISECCONVERTED" val="1"/>
  <p:tag name="INKNOELEADERBOARD" val="-42375347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7AE0B31_4FE5_4E33_B81E_98B3DA7C90CB&quot;,&quot;SourceFullName&quot;:&quot;https://thuexesaigon.net/wp-content/uploads/2016/06/cho-thue-xe-16-600-x-400.jpg&quot;,&quot;LastUpdate&quot;:&quot;2022-08-22 9:33 PM&quot;,&quot;UpdatedBy&quot;:&quot;Admin&quot;,&quot;IsLinked&quot;:false,&quot;IsBrokenLink&quot;:false,&quot;Type&quot;:2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9Slide.vn</Template>
  <TotalTime>6651</TotalTime>
  <Words>4702</Words>
  <PresentationFormat>Custom</PresentationFormat>
  <Paragraphs>459</Paragraphs>
  <Slides>40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5" baseType="lpstr">
      <vt:lpstr>Yu Gothic UI Semilight</vt:lpstr>
      <vt:lpstr>Arial</vt:lpstr>
      <vt:lpstr>Bahnschrift SemiBold SemiConden</vt:lpstr>
      <vt:lpstr>Calibri</vt:lpstr>
      <vt:lpstr>Calibri Light</vt:lpstr>
      <vt:lpstr>Cambria Math</vt:lpstr>
      <vt:lpstr>Libre Franklin</vt:lpstr>
      <vt:lpstr>Symbol</vt:lpstr>
      <vt:lpstr>Tahoma</vt:lpstr>
      <vt:lpstr>Times New Roman</vt:lpstr>
      <vt:lpstr>Tomaho</vt:lpstr>
      <vt:lpstr>Wingdings</vt:lpstr>
      <vt:lpstr>Office Theme</vt:lpstr>
      <vt:lpstr>1_Office Theme</vt:lpstr>
      <vt:lpstr>Bitmap Im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13-08-31T11:42:51Z</dcterms:created>
  <dcterms:modified xsi:type="dcterms:W3CDTF">2022-10-26T15:13:44Z</dcterms:modified>
</cp:coreProperties>
</file>